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80" r:id="rId5"/>
  </p:sldMasterIdLst>
  <p:notesMasterIdLst>
    <p:notesMasterId r:id="rId37"/>
  </p:notesMasterIdLst>
  <p:handoutMasterIdLst>
    <p:handoutMasterId r:id="rId38"/>
  </p:handoutMasterIdLst>
  <p:sldIdLst>
    <p:sldId id="2049" r:id="rId6"/>
    <p:sldId id="2056" r:id="rId7"/>
    <p:sldId id="2054" r:id="rId8"/>
    <p:sldId id="2029" r:id="rId9"/>
    <p:sldId id="2043" r:id="rId10"/>
    <p:sldId id="2073" r:id="rId11"/>
    <p:sldId id="2031" r:id="rId12"/>
    <p:sldId id="2078" r:id="rId13"/>
    <p:sldId id="2079" r:id="rId14"/>
    <p:sldId id="2080" r:id="rId15"/>
    <p:sldId id="2081" r:id="rId16"/>
    <p:sldId id="2082" r:id="rId17"/>
    <p:sldId id="2089" r:id="rId18"/>
    <p:sldId id="2083" r:id="rId19"/>
    <p:sldId id="2084" r:id="rId20"/>
    <p:sldId id="2085" r:id="rId21"/>
    <p:sldId id="2090" r:id="rId22"/>
    <p:sldId id="2086" r:id="rId23"/>
    <p:sldId id="2087" r:id="rId24"/>
    <p:sldId id="2053" r:id="rId25"/>
    <p:sldId id="2057" r:id="rId26"/>
    <p:sldId id="2074" r:id="rId27"/>
    <p:sldId id="2058" r:id="rId28"/>
    <p:sldId id="1621" r:id="rId29"/>
    <p:sldId id="2059" r:id="rId30"/>
    <p:sldId id="2060" r:id="rId31"/>
    <p:sldId id="2061" r:id="rId32"/>
    <p:sldId id="2088" r:id="rId33"/>
    <p:sldId id="2065" r:id="rId34"/>
    <p:sldId id="2077" r:id="rId35"/>
    <p:sldId id="2055" r:id="rId36"/>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C2B"/>
    <a:srgbClr val="1F6BA1"/>
    <a:srgbClr val="7DBA02"/>
    <a:srgbClr val="FDC60D"/>
    <a:srgbClr val="959B51"/>
    <a:srgbClr val="F37920"/>
    <a:srgbClr val="0098AF"/>
    <a:srgbClr val="8CBE3A"/>
    <a:srgbClr val="E42313"/>
    <a:srgbClr val="D32E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94704"/>
  </p:normalViewPr>
  <p:slideViewPr>
    <p:cSldViewPr snapToGrid="0">
      <p:cViewPr varScale="1">
        <p:scale>
          <a:sx n="120" d="100"/>
          <a:sy n="120" d="100"/>
        </p:scale>
        <p:origin x="228" y="102"/>
      </p:cViewPr>
      <p:guideLst>
        <p:guide orient="horz" pos="436"/>
        <p:guide pos="189"/>
      </p:guideLst>
    </p:cSldViewPr>
  </p:slideViewPr>
  <p:notesTextViewPr>
    <p:cViewPr>
      <p:scale>
        <a:sx n="1" d="1"/>
        <a:sy n="1" d="1"/>
      </p:scale>
      <p:origin x="0" y="0"/>
    </p:cViewPr>
  </p:notesTextViewPr>
  <p:sorterViewPr>
    <p:cViewPr>
      <p:scale>
        <a:sx n="200" d="100"/>
        <a:sy n="2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14/04/2025</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14/04/2025</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25</a:t>
            </a:fld>
            <a:endParaRPr lang="en-GB"/>
          </a:p>
        </p:txBody>
      </p:sp>
    </p:spTree>
    <p:extLst>
      <p:ext uri="{BB962C8B-B14F-4D97-AF65-F5344CB8AC3E}">
        <p14:creationId xmlns:p14="http://schemas.microsoft.com/office/powerpoint/2010/main" val="1609847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a:solidFill>
                  <a:srgbClr val="2C363A"/>
                </a:solidFill>
                <a:effectLst/>
                <a:latin typeface="Calibri" panose="020F0502020204030204" pitchFamily="34" charset="0"/>
              </a:rPr>
              <a:t>Growth and Reinven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2735437"/>
              </p:ext>
            </p:extLst>
          </p:nvPr>
        </p:nvGraphicFramePr>
        <p:xfrm>
          <a:off x="2121" y="1594"/>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21" y="1594"/>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2727987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ags" Target="../tags/tag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2" imgW="421" imgH="420" progId="TCLayout.ActiveDocument.1">
                  <p:embed/>
                </p:oleObj>
              </mc:Choice>
              <mc:Fallback>
                <p:oleObj name="think-cell Slide" r:id="rId32" imgW="421" imgH="420" progId="TCLayout.ActiveDocument.1">
                  <p:embed/>
                  <p:pic>
                    <p:nvPicPr>
                      <p:cNvPr id="4" name="Object 3" hidden="1"/>
                      <p:cNvPicPr/>
                      <p:nvPr/>
                    </p:nvPicPr>
                    <p:blipFill>
                      <a:blip r:embed="rId33"/>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 id="2147483809" r:id="rId29"/>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hyperlink" Target="http://www.etenders.gov.za/" TargetMode="Externa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hyperlink" Target="mailto:Nhlanhla.Caluza@transnet.net" TargetMode="Externa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17771" y="-35026"/>
            <a:ext cx="12233306" cy="6896709"/>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1322551 w 12196437"/>
              <a:gd name="connsiteY174" fmla="*/ 917119 h 6880475"/>
              <a:gd name="connsiteX175" fmla="*/ 346641 w 12196437"/>
              <a:gd name="connsiteY175" fmla="*/ 524645 h 6880475"/>
              <a:gd name="connsiteX176" fmla="*/ 11413612 w 12196437"/>
              <a:gd name="connsiteY176" fmla="*/ 0 h 6880475"/>
              <a:gd name="connsiteX177" fmla="*/ 12183186 w 12196437"/>
              <a:gd name="connsiteY177" fmla="*/ 0 h 6880475"/>
              <a:gd name="connsiteX178" fmla="*/ 12196437 w 12196437"/>
              <a:gd name="connsiteY178" fmla="*/ 0 h 6880475"/>
              <a:gd name="connsiteX179" fmla="*/ 12196437 w 12196437"/>
              <a:gd name="connsiteY179" fmla="*/ 6880472 h 6880475"/>
              <a:gd name="connsiteX180" fmla="*/ 12183186 w 12196437"/>
              <a:gd name="connsiteY180" fmla="*/ 6880472 h 6880475"/>
              <a:gd name="connsiteX181" fmla="*/ 12183186 w 12196437"/>
              <a:gd name="connsiteY181" fmla="*/ 6880475 h 6880475"/>
              <a:gd name="connsiteX182" fmla="*/ 0 w 12196437"/>
              <a:gd name="connsiteY182" fmla="*/ 6880475 h 6880475"/>
              <a:gd name="connsiteX183" fmla="*/ 346641 w 12196437"/>
              <a:gd name="connsiteY183" fmla="*/ 524645 h 6880475"/>
              <a:gd name="connsiteX0" fmla="*/ 975910 w 11849796"/>
              <a:gd name="connsiteY0" fmla="*/ 917119 h 8979057"/>
              <a:gd name="connsiteX1" fmla="*/ 295937 w 11849796"/>
              <a:gd name="connsiteY1" fmla="*/ 2059126 h 8979057"/>
              <a:gd name="connsiteX2" fmla="*/ 295937 w 11849796"/>
              <a:gd name="connsiteY2" fmla="*/ 2878457 h 8979057"/>
              <a:gd name="connsiteX3" fmla="*/ 761887 w 11849796"/>
              <a:gd name="connsiteY3" fmla="*/ 3602271 h 8979057"/>
              <a:gd name="connsiteX4" fmla="*/ 1553042 w 11849796"/>
              <a:gd name="connsiteY4" fmla="*/ 3602271 h 8979057"/>
              <a:gd name="connsiteX5" fmla="*/ 1635417 w 11849796"/>
              <a:gd name="connsiteY5" fmla="*/ 3459631 h 8979057"/>
              <a:gd name="connsiteX6" fmla="*/ 2369844 w 11849796"/>
              <a:gd name="connsiteY6" fmla="*/ 3459631 h 8979057"/>
              <a:gd name="connsiteX7" fmla="*/ 2422782 w 11849796"/>
              <a:gd name="connsiteY7" fmla="*/ 3554387 h 8979057"/>
              <a:gd name="connsiteX8" fmla="*/ 2422782 w 11849796"/>
              <a:gd name="connsiteY8" fmla="*/ 4078708 h 8979057"/>
              <a:gd name="connsiteX9" fmla="*/ 2608758 w 11849796"/>
              <a:gd name="connsiteY9" fmla="*/ 4402397 h 8979057"/>
              <a:gd name="connsiteX10" fmla="*/ 2607747 w 11849796"/>
              <a:gd name="connsiteY10" fmla="*/ 4744531 h 8979057"/>
              <a:gd name="connsiteX11" fmla="*/ 2920445 w 11849796"/>
              <a:gd name="connsiteY11" fmla="*/ 5313072 h 8979057"/>
              <a:gd name="connsiteX12" fmla="*/ 2920445 w 11849796"/>
              <a:gd name="connsiteY12" fmla="*/ 5777000 h 8979057"/>
              <a:gd name="connsiteX13" fmla="*/ 3331310 w 11849796"/>
              <a:gd name="connsiteY13" fmla="*/ 6260639 h 8979057"/>
              <a:gd name="connsiteX14" fmla="*/ 3901618 w 11849796"/>
              <a:gd name="connsiteY14" fmla="*/ 6264176 h 8979057"/>
              <a:gd name="connsiteX15" fmla="*/ 4177171 w 11849796"/>
              <a:gd name="connsiteY15" fmla="*/ 5805807 h 8979057"/>
              <a:gd name="connsiteX16" fmla="*/ 4177171 w 11849796"/>
              <a:gd name="connsiteY16" fmla="*/ 5519010 h 8979057"/>
              <a:gd name="connsiteX17" fmla="*/ 4689236 w 11849796"/>
              <a:gd name="connsiteY17" fmla="*/ 4716736 h 8979057"/>
              <a:gd name="connsiteX18" fmla="*/ 4689236 w 11849796"/>
              <a:gd name="connsiteY18" fmla="*/ 4178518 h 8979057"/>
              <a:gd name="connsiteX19" fmla="*/ 4888983 w 11849796"/>
              <a:gd name="connsiteY19" fmla="*/ 3862662 h 8979057"/>
              <a:gd name="connsiteX20" fmla="*/ 5190309 w 11849796"/>
              <a:gd name="connsiteY20" fmla="*/ 3866200 h 8979057"/>
              <a:gd name="connsiteX21" fmla="*/ 5804081 w 11849796"/>
              <a:gd name="connsiteY21" fmla="*/ 2792291 h 8979057"/>
              <a:gd name="connsiteX22" fmla="*/ 4777423 w 11849796"/>
              <a:gd name="connsiteY22" fmla="*/ 2792291 h 8979057"/>
              <a:gd name="connsiteX23" fmla="*/ 4566558 w 11849796"/>
              <a:gd name="connsiteY23" fmla="*/ 2429941 h 8979057"/>
              <a:gd name="connsiteX24" fmla="*/ 4566558 w 11849796"/>
              <a:gd name="connsiteY24" fmla="*/ 1998230 h 8979057"/>
              <a:gd name="connsiteX25" fmla="*/ 4051840 w 11849796"/>
              <a:gd name="connsiteY25" fmla="*/ 1286670 h 8979057"/>
              <a:gd name="connsiteX26" fmla="*/ 2899598 w 11849796"/>
              <a:gd name="connsiteY26" fmla="*/ 1286670 h 8979057"/>
              <a:gd name="connsiteX27" fmla="*/ 2654494 w 11849796"/>
              <a:gd name="connsiteY27" fmla="*/ 1734048 h 8979057"/>
              <a:gd name="connsiteX28" fmla="*/ 2150388 w 11849796"/>
              <a:gd name="connsiteY28" fmla="*/ 1734048 h 8979057"/>
              <a:gd name="connsiteX29" fmla="*/ 1881280 w 11849796"/>
              <a:gd name="connsiteY29" fmla="*/ 1274036 h 8979057"/>
              <a:gd name="connsiteX30" fmla="*/ 1151527 w 11849796"/>
              <a:gd name="connsiteY30" fmla="*/ 1274036 h 8979057"/>
              <a:gd name="connsiteX31" fmla="*/ 638829 w 11849796"/>
              <a:gd name="connsiteY31" fmla="*/ 2182310 h 8979057"/>
              <a:gd name="connsiteX32" fmla="*/ 651463 w 11849796"/>
              <a:gd name="connsiteY32" fmla="*/ 2763485 h 8979057"/>
              <a:gd name="connsiteX33" fmla="*/ 976795 w 11849796"/>
              <a:gd name="connsiteY33" fmla="*/ 3233478 h 8979057"/>
              <a:gd name="connsiteX34" fmla="*/ 1357590 w 11849796"/>
              <a:gd name="connsiteY34" fmla="*/ 3233478 h 8979057"/>
              <a:gd name="connsiteX35" fmla="*/ 1494798 w 11849796"/>
              <a:gd name="connsiteY35" fmla="*/ 3054072 h 8979057"/>
              <a:gd name="connsiteX36" fmla="*/ 2541418 w 11849796"/>
              <a:gd name="connsiteY36" fmla="*/ 3054072 h 8979057"/>
              <a:gd name="connsiteX37" fmla="*/ 2775150 w 11849796"/>
              <a:gd name="connsiteY37" fmla="*/ 3479213 h 8979057"/>
              <a:gd name="connsiteX38" fmla="*/ 2775150 w 11849796"/>
              <a:gd name="connsiteY38" fmla="*/ 4018947 h 8979057"/>
              <a:gd name="connsiteX39" fmla="*/ 2961759 w 11849796"/>
              <a:gd name="connsiteY39" fmla="*/ 4339225 h 8979057"/>
              <a:gd name="connsiteX40" fmla="*/ 2961759 w 11849796"/>
              <a:gd name="connsiteY40" fmla="*/ 4666958 h 8979057"/>
              <a:gd name="connsiteX41" fmla="*/ 3296691 w 11849796"/>
              <a:gd name="connsiteY41" fmla="*/ 5227159 h 8979057"/>
              <a:gd name="connsiteX42" fmla="*/ 3296691 w 11849796"/>
              <a:gd name="connsiteY42" fmla="*/ 5573716 h 8979057"/>
              <a:gd name="connsiteX43" fmla="*/ 3519433 w 11849796"/>
              <a:gd name="connsiteY43" fmla="*/ 5864303 h 8979057"/>
              <a:gd name="connsiteX44" fmla="*/ 3707936 w 11849796"/>
              <a:gd name="connsiteY44" fmla="*/ 5864303 h 8979057"/>
              <a:gd name="connsiteX45" fmla="*/ 3858031 w 11849796"/>
              <a:gd name="connsiteY45" fmla="*/ 5616293 h 8979057"/>
              <a:gd name="connsiteX46" fmla="*/ 3858031 w 11849796"/>
              <a:gd name="connsiteY46" fmla="*/ 5371063 h 8979057"/>
              <a:gd name="connsiteX47" fmla="*/ 4333962 w 11849796"/>
              <a:gd name="connsiteY47" fmla="*/ 4609724 h 8979057"/>
              <a:gd name="connsiteX48" fmla="*/ 4338005 w 11849796"/>
              <a:gd name="connsiteY48" fmla="*/ 4017179 h 8979057"/>
              <a:gd name="connsiteX49" fmla="*/ 4609640 w 11849796"/>
              <a:gd name="connsiteY49" fmla="*/ 3560957 h 8979057"/>
              <a:gd name="connsiteX50" fmla="*/ 4993215 w 11849796"/>
              <a:gd name="connsiteY50" fmla="*/ 3559441 h 8979057"/>
              <a:gd name="connsiteX51" fmla="*/ 5266368 w 11849796"/>
              <a:gd name="connsiteY51" fmla="*/ 3098544 h 8979057"/>
              <a:gd name="connsiteX52" fmla="*/ 4580708 w 11849796"/>
              <a:gd name="connsiteY52" fmla="*/ 3096017 h 8979057"/>
              <a:gd name="connsiteX53" fmla="*/ 4221770 w 11849796"/>
              <a:gd name="connsiteY53" fmla="*/ 2507768 h 8979057"/>
              <a:gd name="connsiteX54" fmla="*/ 4236046 w 11849796"/>
              <a:gd name="connsiteY54" fmla="*/ 2127225 h 8979057"/>
              <a:gd name="connsiteX55" fmla="*/ 3906293 w 11849796"/>
              <a:gd name="connsiteY55" fmla="*/ 1643207 h 8979057"/>
              <a:gd name="connsiteX56" fmla="*/ 3097703 w 11849796"/>
              <a:gd name="connsiteY56" fmla="*/ 1638786 h 8979057"/>
              <a:gd name="connsiteX57" fmla="*/ 2847797 w 11849796"/>
              <a:gd name="connsiteY57" fmla="*/ 2076941 h 8979057"/>
              <a:gd name="connsiteX58" fmla="*/ 1932069 w 11849796"/>
              <a:gd name="connsiteY58" fmla="*/ 2076941 h 8979057"/>
              <a:gd name="connsiteX59" fmla="*/ 1706927 w 11849796"/>
              <a:gd name="connsiteY59" fmla="*/ 1657105 h 8979057"/>
              <a:gd name="connsiteX60" fmla="*/ 1368961 w 11849796"/>
              <a:gd name="connsiteY60" fmla="*/ 1657105 h 8979057"/>
              <a:gd name="connsiteX61" fmla="*/ 1018740 w 11849796"/>
              <a:gd name="connsiteY61" fmla="*/ 2321286 h 8979057"/>
              <a:gd name="connsiteX62" fmla="*/ 1025690 w 11849796"/>
              <a:gd name="connsiteY62" fmla="*/ 2653694 h 8979057"/>
              <a:gd name="connsiteX63" fmla="*/ 1095177 w 11849796"/>
              <a:gd name="connsiteY63" fmla="*/ 2745670 h 8979057"/>
              <a:gd name="connsiteX64" fmla="*/ 1206484 w 11849796"/>
              <a:gd name="connsiteY64" fmla="*/ 2743775 h 8979057"/>
              <a:gd name="connsiteX65" fmla="*/ 1302758 w 11849796"/>
              <a:gd name="connsiteY65" fmla="*/ 2662411 h 8979057"/>
              <a:gd name="connsiteX66" fmla="*/ 3350640 w 11849796"/>
              <a:gd name="connsiteY66" fmla="*/ 2663801 h 8979057"/>
              <a:gd name="connsiteX67" fmla="*/ 3551397 w 11849796"/>
              <a:gd name="connsiteY67" fmla="*/ 2270370 h 8979057"/>
              <a:gd name="connsiteX68" fmla="*/ 3584500 w 11849796"/>
              <a:gd name="connsiteY68" fmla="*/ 2270370 h 8979057"/>
              <a:gd name="connsiteX69" fmla="*/ 3647671 w 11849796"/>
              <a:gd name="connsiteY69" fmla="*/ 2353504 h 8979057"/>
              <a:gd name="connsiteX70" fmla="*/ 3647671 w 11849796"/>
              <a:gd name="connsiteY70" fmla="*/ 2771317 h 8979057"/>
              <a:gd name="connsiteX71" fmla="*/ 4031246 w 11849796"/>
              <a:gd name="connsiteY71" fmla="*/ 3414653 h 8979057"/>
              <a:gd name="connsiteX72" fmla="*/ 3752662 w 11849796"/>
              <a:gd name="connsiteY72" fmla="*/ 3832466 h 8979057"/>
              <a:gd name="connsiteX73" fmla="*/ 3744954 w 11849796"/>
              <a:gd name="connsiteY73" fmla="*/ 4456471 h 8979057"/>
              <a:gd name="connsiteX74" fmla="*/ 3622656 w 11849796"/>
              <a:gd name="connsiteY74" fmla="*/ 4641815 h 8979057"/>
              <a:gd name="connsiteX75" fmla="*/ 3511979 w 11849796"/>
              <a:gd name="connsiteY75" fmla="*/ 4455966 h 8979057"/>
              <a:gd name="connsiteX76" fmla="*/ 3511979 w 11849796"/>
              <a:gd name="connsiteY76" fmla="*/ 4076939 h 8979057"/>
              <a:gd name="connsiteX77" fmla="*/ 3374140 w 11849796"/>
              <a:gd name="connsiteY77" fmla="*/ 3851165 h 8979057"/>
              <a:gd name="connsiteX78" fmla="*/ 3374140 w 11849796"/>
              <a:gd name="connsiteY78" fmla="*/ 3321665 h 8979057"/>
              <a:gd name="connsiteX79" fmla="*/ 3209895 w 11849796"/>
              <a:gd name="connsiteY79" fmla="*/ 3043712 h 8979057"/>
              <a:gd name="connsiteX80" fmla="*/ 3381846 w 11849796"/>
              <a:gd name="connsiteY80" fmla="*/ 3043712 h 8979057"/>
              <a:gd name="connsiteX81" fmla="*/ 3599535 w 11849796"/>
              <a:gd name="connsiteY81" fmla="*/ 3385973 h 8979057"/>
              <a:gd name="connsiteX82" fmla="*/ 3432635 w 11849796"/>
              <a:gd name="connsiteY82" fmla="*/ 3638658 h 8979057"/>
              <a:gd name="connsiteX83" fmla="*/ 3432635 w 11849796"/>
              <a:gd name="connsiteY83" fmla="*/ 3763104 h 8979057"/>
              <a:gd name="connsiteX84" fmla="*/ 3647417 w 11849796"/>
              <a:gd name="connsiteY84" fmla="*/ 3763104 h 8979057"/>
              <a:gd name="connsiteX85" fmla="*/ 3647417 w 11849796"/>
              <a:gd name="connsiteY85" fmla="*/ 3703345 h 8979057"/>
              <a:gd name="connsiteX86" fmla="*/ 3855503 w 11849796"/>
              <a:gd name="connsiteY86" fmla="*/ 3389005 h 8979057"/>
              <a:gd name="connsiteX87" fmla="*/ 3499724 w 11849796"/>
              <a:gd name="connsiteY87" fmla="*/ 2829562 h 8979057"/>
              <a:gd name="connsiteX88" fmla="*/ 2833395 w 11849796"/>
              <a:gd name="connsiteY88" fmla="*/ 2829562 h 8979057"/>
              <a:gd name="connsiteX89" fmla="*/ 3158727 w 11849796"/>
              <a:gd name="connsiteY89" fmla="*/ 3380540 h 8979057"/>
              <a:gd name="connsiteX90" fmla="*/ 3158727 w 11849796"/>
              <a:gd name="connsiteY90" fmla="*/ 3911178 h 8979057"/>
              <a:gd name="connsiteX91" fmla="*/ 3296565 w 11849796"/>
              <a:gd name="connsiteY91" fmla="*/ 4136952 h 8979057"/>
              <a:gd name="connsiteX92" fmla="*/ 3296565 w 11849796"/>
              <a:gd name="connsiteY92" fmla="*/ 4514083 h 8979057"/>
              <a:gd name="connsiteX93" fmla="*/ 3612421 w 11849796"/>
              <a:gd name="connsiteY93" fmla="*/ 5043836 h 8979057"/>
              <a:gd name="connsiteX94" fmla="*/ 3958978 w 11849796"/>
              <a:gd name="connsiteY94" fmla="*/ 4522043 h 8979057"/>
              <a:gd name="connsiteX95" fmla="*/ 3966558 w 11849796"/>
              <a:gd name="connsiteY95" fmla="*/ 3898291 h 8979057"/>
              <a:gd name="connsiteX96" fmla="*/ 4285067 w 11849796"/>
              <a:gd name="connsiteY96" fmla="*/ 3420464 h 8979057"/>
              <a:gd name="connsiteX97" fmla="*/ 3862452 w 11849796"/>
              <a:gd name="connsiteY97" fmla="*/ 2712442 h 8979057"/>
              <a:gd name="connsiteX98" fmla="*/ 3862452 w 11849796"/>
              <a:gd name="connsiteY98" fmla="*/ 2281616 h 8979057"/>
              <a:gd name="connsiteX99" fmla="*/ 3691258 w 11849796"/>
              <a:gd name="connsiteY99" fmla="*/ 2055968 h 8979057"/>
              <a:gd name="connsiteX100" fmla="*/ 3420001 w 11849796"/>
              <a:gd name="connsiteY100" fmla="*/ 2055968 h 8979057"/>
              <a:gd name="connsiteX101" fmla="*/ 3219749 w 11849796"/>
              <a:gd name="connsiteY101" fmla="*/ 2448766 h 8979057"/>
              <a:gd name="connsiteX102" fmla="*/ 1236175 w 11849796"/>
              <a:gd name="connsiteY102" fmla="*/ 2447629 h 8979057"/>
              <a:gd name="connsiteX103" fmla="*/ 1234659 w 11849796"/>
              <a:gd name="connsiteY103" fmla="*/ 2371823 h 8979057"/>
              <a:gd name="connsiteX104" fmla="*/ 1497957 w 11849796"/>
              <a:gd name="connsiteY104" fmla="*/ 1871382 h 8979057"/>
              <a:gd name="connsiteX105" fmla="*/ 1578310 w 11849796"/>
              <a:gd name="connsiteY105" fmla="*/ 1871382 h 8979057"/>
              <a:gd name="connsiteX106" fmla="*/ 1803579 w 11849796"/>
              <a:gd name="connsiteY106" fmla="*/ 2291216 h 8979057"/>
              <a:gd name="connsiteX107" fmla="*/ 2972624 w 11849796"/>
              <a:gd name="connsiteY107" fmla="*/ 2291216 h 8979057"/>
              <a:gd name="connsiteX108" fmla="*/ 3222024 w 11849796"/>
              <a:gd name="connsiteY108" fmla="*/ 1853820 h 8979057"/>
              <a:gd name="connsiteX109" fmla="*/ 3792712 w 11849796"/>
              <a:gd name="connsiteY109" fmla="*/ 1856852 h 8979057"/>
              <a:gd name="connsiteX110" fmla="*/ 4019117 w 11849796"/>
              <a:gd name="connsiteY110" fmla="*/ 2189259 h 8979057"/>
              <a:gd name="connsiteX111" fmla="*/ 4005092 w 11849796"/>
              <a:gd name="connsiteY111" fmla="*/ 2563864 h 8979057"/>
              <a:gd name="connsiteX112" fmla="*/ 4459925 w 11849796"/>
              <a:gd name="connsiteY112" fmla="*/ 3310294 h 8979057"/>
              <a:gd name="connsiteX113" fmla="*/ 4890120 w 11849796"/>
              <a:gd name="connsiteY113" fmla="*/ 3311936 h 8979057"/>
              <a:gd name="connsiteX114" fmla="*/ 4870538 w 11849796"/>
              <a:gd name="connsiteY114" fmla="*/ 3344912 h 8979057"/>
              <a:gd name="connsiteX115" fmla="*/ 4487341 w 11849796"/>
              <a:gd name="connsiteY115" fmla="*/ 3346301 h 8979057"/>
              <a:gd name="connsiteX116" fmla="*/ 4123602 w 11849796"/>
              <a:gd name="connsiteY116" fmla="*/ 3957166 h 8979057"/>
              <a:gd name="connsiteX117" fmla="*/ 4119559 w 11849796"/>
              <a:gd name="connsiteY117" fmla="*/ 4547185 h 8979057"/>
              <a:gd name="connsiteX118" fmla="*/ 3643248 w 11849796"/>
              <a:gd name="connsiteY118" fmla="*/ 5309408 h 8979057"/>
              <a:gd name="connsiteX119" fmla="*/ 3643248 w 11849796"/>
              <a:gd name="connsiteY119" fmla="*/ 5556786 h 8979057"/>
              <a:gd name="connsiteX120" fmla="*/ 3603704 w 11849796"/>
              <a:gd name="connsiteY120" fmla="*/ 5622106 h 8979057"/>
              <a:gd name="connsiteX121" fmla="*/ 3511095 w 11849796"/>
              <a:gd name="connsiteY121" fmla="*/ 5501448 h 8979057"/>
              <a:gd name="connsiteX122" fmla="*/ 3511095 w 11849796"/>
              <a:gd name="connsiteY122" fmla="*/ 5168410 h 8979057"/>
              <a:gd name="connsiteX123" fmla="*/ 3176161 w 11849796"/>
              <a:gd name="connsiteY123" fmla="*/ 4608082 h 8979057"/>
              <a:gd name="connsiteX124" fmla="*/ 3176161 w 11849796"/>
              <a:gd name="connsiteY124" fmla="*/ 4281108 h 8979057"/>
              <a:gd name="connsiteX125" fmla="*/ 2989554 w 11849796"/>
              <a:gd name="connsiteY125" fmla="*/ 3960830 h 8979057"/>
              <a:gd name="connsiteX126" fmla="*/ 2989554 w 11849796"/>
              <a:gd name="connsiteY126" fmla="*/ 3424002 h 8979057"/>
              <a:gd name="connsiteX127" fmla="*/ 2668517 w 11849796"/>
              <a:gd name="connsiteY127" fmla="*/ 2839290 h 8979057"/>
              <a:gd name="connsiteX128" fmla="*/ 1388671 w 11849796"/>
              <a:gd name="connsiteY128" fmla="*/ 2839290 h 8979057"/>
              <a:gd name="connsiteX129" fmla="*/ 1251590 w 11849796"/>
              <a:gd name="connsiteY129" fmla="*/ 3018316 h 8979057"/>
              <a:gd name="connsiteX130" fmla="*/ 1089239 w 11849796"/>
              <a:gd name="connsiteY130" fmla="*/ 3018316 h 8979057"/>
              <a:gd name="connsiteX131" fmla="*/ 864224 w 11849796"/>
              <a:gd name="connsiteY131" fmla="*/ 2693869 h 8979057"/>
              <a:gd name="connsiteX132" fmla="*/ 854622 w 11849796"/>
              <a:gd name="connsiteY132" fmla="*/ 2236638 h 8979057"/>
              <a:gd name="connsiteX133" fmla="*/ 1276605 w 11849796"/>
              <a:gd name="connsiteY133" fmla="*/ 1488944 h 8979057"/>
              <a:gd name="connsiteX134" fmla="*/ 1757842 w 11849796"/>
              <a:gd name="connsiteY134" fmla="*/ 1488944 h 8979057"/>
              <a:gd name="connsiteX135" fmla="*/ 2026952 w 11849796"/>
              <a:gd name="connsiteY135" fmla="*/ 1948955 h 8979057"/>
              <a:gd name="connsiteX136" fmla="*/ 2781594 w 11849796"/>
              <a:gd name="connsiteY136" fmla="*/ 1948955 h 8979057"/>
              <a:gd name="connsiteX137" fmla="*/ 3026698 w 11849796"/>
              <a:gd name="connsiteY137" fmla="*/ 1501578 h 8979057"/>
              <a:gd name="connsiteX138" fmla="*/ 3941796 w 11849796"/>
              <a:gd name="connsiteY138" fmla="*/ 1501578 h 8979057"/>
              <a:gd name="connsiteX139" fmla="*/ 4351524 w 11849796"/>
              <a:gd name="connsiteY139" fmla="*/ 2067717 h 8979057"/>
              <a:gd name="connsiteX140" fmla="*/ 4350891 w 11849796"/>
              <a:gd name="connsiteY140" fmla="*/ 2487932 h 8979057"/>
              <a:gd name="connsiteX141" fmla="*/ 4653102 w 11849796"/>
              <a:gd name="connsiteY141" fmla="*/ 3007199 h 8979057"/>
              <a:gd name="connsiteX142" fmla="*/ 5432888 w 11849796"/>
              <a:gd name="connsiteY142" fmla="*/ 3007199 h 8979057"/>
              <a:gd name="connsiteX143" fmla="*/ 5065483 w 11849796"/>
              <a:gd name="connsiteY143" fmla="*/ 3649776 h 8979057"/>
              <a:gd name="connsiteX144" fmla="*/ 4771358 w 11849796"/>
              <a:gd name="connsiteY144" fmla="*/ 3646618 h 8979057"/>
              <a:gd name="connsiteX145" fmla="*/ 4474201 w 11849796"/>
              <a:gd name="connsiteY145" fmla="*/ 4115347 h 8979057"/>
              <a:gd name="connsiteX146" fmla="*/ 4474201 w 11849796"/>
              <a:gd name="connsiteY146" fmla="*/ 4653691 h 8979057"/>
              <a:gd name="connsiteX147" fmla="*/ 3962136 w 11849796"/>
              <a:gd name="connsiteY147" fmla="*/ 5456344 h 8979057"/>
              <a:gd name="connsiteX148" fmla="*/ 3962136 w 11849796"/>
              <a:gd name="connsiteY148" fmla="*/ 5746173 h 8979057"/>
              <a:gd name="connsiteX149" fmla="*/ 3780330 w 11849796"/>
              <a:gd name="connsiteY149" fmla="*/ 6048637 h 8979057"/>
              <a:gd name="connsiteX150" fmla="*/ 3430993 w 11849796"/>
              <a:gd name="connsiteY150" fmla="*/ 6046490 h 8979057"/>
              <a:gd name="connsiteX151" fmla="*/ 3135478 w 11849796"/>
              <a:gd name="connsiteY151" fmla="*/ 5698668 h 8979057"/>
              <a:gd name="connsiteX152" fmla="*/ 3135478 w 11849796"/>
              <a:gd name="connsiteY152" fmla="*/ 5258366 h 8979057"/>
              <a:gd name="connsiteX153" fmla="*/ 2822908 w 11849796"/>
              <a:gd name="connsiteY153" fmla="*/ 4689826 h 8979057"/>
              <a:gd name="connsiteX154" fmla="*/ 2823919 w 11849796"/>
              <a:gd name="connsiteY154" fmla="*/ 4345543 h 8979057"/>
              <a:gd name="connsiteX155" fmla="*/ 2637817 w 11849796"/>
              <a:gd name="connsiteY155" fmla="*/ 4021474 h 8979057"/>
              <a:gd name="connsiteX156" fmla="*/ 2637817 w 11849796"/>
              <a:gd name="connsiteY156" fmla="*/ 3498544 h 8979057"/>
              <a:gd name="connsiteX157" fmla="*/ 2496060 w 11849796"/>
              <a:gd name="connsiteY157" fmla="*/ 3244975 h 8979057"/>
              <a:gd name="connsiteX158" fmla="*/ 1511222 w 11849796"/>
              <a:gd name="connsiteY158" fmla="*/ 3244975 h 8979057"/>
              <a:gd name="connsiteX159" fmla="*/ 1428974 w 11849796"/>
              <a:gd name="connsiteY159" fmla="*/ 3387615 h 8979057"/>
              <a:gd name="connsiteX160" fmla="*/ 878879 w 11849796"/>
              <a:gd name="connsiteY160" fmla="*/ 3387615 h 8979057"/>
              <a:gd name="connsiteX161" fmla="*/ 510719 w 11849796"/>
              <a:gd name="connsiteY161" fmla="*/ 2815285 h 8979057"/>
              <a:gd name="connsiteX162" fmla="*/ 510719 w 11849796"/>
              <a:gd name="connsiteY162" fmla="*/ 2118254 h 8979057"/>
              <a:gd name="connsiteX163" fmla="*/ 1097958 w 11849796"/>
              <a:gd name="connsiteY163" fmla="*/ 1131901 h 8979057"/>
              <a:gd name="connsiteX164" fmla="*/ 1980710 w 11849796"/>
              <a:gd name="connsiteY164" fmla="*/ 1131901 h 8979057"/>
              <a:gd name="connsiteX165" fmla="*/ 2214570 w 11849796"/>
              <a:gd name="connsiteY165" fmla="*/ 1518003 h 8979057"/>
              <a:gd name="connsiteX166" fmla="*/ 2597134 w 11849796"/>
              <a:gd name="connsiteY166" fmla="*/ 1515476 h 8979057"/>
              <a:gd name="connsiteX167" fmla="*/ 2807999 w 11849796"/>
              <a:gd name="connsiteY167" fmla="*/ 1131901 h 8979057"/>
              <a:gd name="connsiteX168" fmla="*/ 9354804 w 11849796"/>
              <a:gd name="connsiteY168" fmla="*/ 1131901 h 8979057"/>
              <a:gd name="connsiteX169" fmla="*/ 9354804 w 11849796"/>
              <a:gd name="connsiteY169" fmla="*/ 917119 h 8979057"/>
              <a:gd name="connsiteX170" fmla="*/ 2680900 w 11849796"/>
              <a:gd name="connsiteY170" fmla="*/ 917119 h 8979057"/>
              <a:gd name="connsiteX171" fmla="*/ 2469907 w 11849796"/>
              <a:gd name="connsiteY171" fmla="*/ 1301452 h 8979057"/>
              <a:gd name="connsiteX172" fmla="*/ 2335353 w 11849796"/>
              <a:gd name="connsiteY172" fmla="*/ 1302336 h 8979057"/>
              <a:gd name="connsiteX173" fmla="*/ 2101747 w 11849796"/>
              <a:gd name="connsiteY173" fmla="*/ 917119 h 8979057"/>
              <a:gd name="connsiteX174" fmla="*/ 975910 w 11849796"/>
              <a:gd name="connsiteY174" fmla="*/ 917119 h 8979057"/>
              <a:gd name="connsiteX175" fmla="*/ 0 w 11849796"/>
              <a:gd name="connsiteY175" fmla="*/ 524645 h 8979057"/>
              <a:gd name="connsiteX176" fmla="*/ 11066971 w 11849796"/>
              <a:gd name="connsiteY176" fmla="*/ 0 h 8979057"/>
              <a:gd name="connsiteX177" fmla="*/ 11836545 w 11849796"/>
              <a:gd name="connsiteY177" fmla="*/ 0 h 8979057"/>
              <a:gd name="connsiteX178" fmla="*/ 11849796 w 11849796"/>
              <a:gd name="connsiteY178" fmla="*/ 0 h 8979057"/>
              <a:gd name="connsiteX179" fmla="*/ 11849796 w 11849796"/>
              <a:gd name="connsiteY179" fmla="*/ 6880472 h 8979057"/>
              <a:gd name="connsiteX180" fmla="*/ 11836545 w 11849796"/>
              <a:gd name="connsiteY180" fmla="*/ 6880472 h 8979057"/>
              <a:gd name="connsiteX181" fmla="*/ 11836545 w 11849796"/>
              <a:gd name="connsiteY181" fmla="*/ 6880475 h 8979057"/>
              <a:gd name="connsiteX182" fmla="*/ 28106 w 11849796"/>
              <a:gd name="connsiteY182" fmla="*/ 8979057 h 8979057"/>
              <a:gd name="connsiteX183" fmla="*/ 0 w 11849796"/>
              <a:gd name="connsiteY183" fmla="*/ 524645 h 8979057"/>
              <a:gd name="connsiteX0" fmla="*/ 975910 w 14993786"/>
              <a:gd name="connsiteY0" fmla="*/ 917119 h 8979057"/>
              <a:gd name="connsiteX1" fmla="*/ 295937 w 14993786"/>
              <a:gd name="connsiteY1" fmla="*/ 2059126 h 8979057"/>
              <a:gd name="connsiteX2" fmla="*/ 295937 w 14993786"/>
              <a:gd name="connsiteY2" fmla="*/ 2878457 h 8979057"/>
              <a:gd name="connsiteX3" fmla="*/ 761887 w 14993786"/>
              <a:gd name="connsiteY3" fmla="*/ 3602271 h 8979057"/>
              <a:gd name="connsiteX4" fmla="*/ 1553042 w 14993786"/>
              <a:gd name="connsiteY4" fmla="*/ 3602271 h 8979057"/>
              <a:gd name="connsiteX5" fmla="*/ 1635417 w 14993786"/>
              <a:gd name="connsiteY5" fmla="*/ 3459631 h 8979057"/>
              <a:gd name="connsiteX6" fmla="*/ 2369844 w 14993786"/>
              <a:gd name="connsiteY6" fmla="*/ 3459631 h 8979057"/>
              <a:gd name="connsiteX7" fmla="*/ 2422782 w 14993786"/>
              <a:gd name="connsiteY7" fmla="*/ 3554387 h 8979057"/>
              <a:gd name="connsiteX8" fmla="*/ 2422782 w 14993786"/>
              <a:gd name="connsiteY8" fmla="*/ 4078708 h 8979057"/>
              <a:gd name="connsiteX9" fmla="*/ 2608758 w 14993786"/>
              <a:gd name="connsiteY9" fmla="*/ 4402397 h 8979057"/>
              <a:gd name="connsiteX10" fmla="*/ 2607747 w 14993786"/>
              <a:gd name="connsiteY10" fmla="*/ 4744531 h 8979057"/>
              <a:gd name="connsiteX11" fmla="*/ 2920445 w 14993786"/>
              <a:gd name="connsiteY11" fmla="*/ 5313072 h 8979057"/>
              <a:gd name="connsiteX12" fmla="*/ 2920445 w 14993786"/>
              <a:gd name="connsiteY12" fmla="*/ 5777000 h 8979057"/>
              <a:gd name="connsiteX13" fmla="*/ 3331310 w 14993786"/>
              <a:gd name="connsiteY13" fmla="*/ 6260639 h 8979057"/>
              <a:gd name="connsiteX14" fmla="*/ 3901618 w 14993786"/>
              <a:gd name="connsiteY14" fmla="*/ 6264176 h 8979057"/>
              <a:gd name="connsiteX15" fmla="*/ 4177171 w 14993786"/>
              <a:gd name="connsiteY15" fmla="*/ 5805807 h 8979057"/>
              <a:gd name="connsiteX16" fmla="*/ 4177171 w 14993786"/>
              <a:gd name="connsiteY16" fmla="*/ 5519010 h 8979057"/>
              <a:gd name="connsiteX17" fmla="*/ 4689236 w 14993786"/>
              <a:gd name="connsiteY17" fmla="*/ 4716736 h 8979057"/>
              <a:gd name="connsiteX18" fmla="*/ 4689236 w 14993786"/>
              <a:gd name="connsiteY18" fmla="*/ 4178518 h 8979057"/>
              <a:gd name="connsiteX19" fmla="*/ 4888983 w 14993786"/>
              <a:gd name="connsiteY19" fmla="*/ 3862662 h 8979057"/>
              <a:gd name="connsiteX20" fmla="*/ 5190309 w 14993786"/>
              <a:gd name="connsiteY20" fmla="*/ 3866200 h 8979057"/>
              <a:gd name="connsiteX21" fmla="*/ 5804081 w 14993786"/>
              <a:gd name="connsiteY21" fmla="*/ 2792291 h 8979057"/>
              <a:gd name="connsiteX22" fmla="*/ 4777423 w 14993786"/>
              <a:gd name="connsiteY22" fmla="*/ 2792291 h 8979057"/>
              <a:gd name="connsiteX23" fmla="*/ 4566558 w 14993786"/>
              <a:gd name="connsiteY23" fmla="*/ 2429941 h 8979057"/>
              <a:gd name="connsiteX24" fmla="*/ 4566558 w 14993786"/>
              <a:gd name="connsiteY24" fmla="*/ 1998230 h 8979057"/>
              <a:gd name="connsiteX25" fmla="*/ 4051840 w 14993786"/>
              <a:gd name="connsiteY25" fmla="*/ 1286670 h 8979057"/>
              <a:gd name="connsiteX26" fmla="*/ 2899598 w 14993786"/>
              <a:gd name="connsiteY26" fmla="*/ 1286670 h 8979057"/>
              <a:gd name="connsiteX27" fmla="*/ 2654494 w 14993786"/>
              <a:gd name="connsiteY27" fmla="*/ 1734048 h 8979057"/>
              <a:gd name="connsiteX28" fmla="*/ 2150388 w 14993786"/>
              <a:gd name="connsiteY28" fmla="*/ 1734048 h 8979057"/>
              <a:gd name="connsiteX29" fmla="*/ 1881280 w 14993786"/>
              <a:gd name="connsiteY29" fmla="*/ 1274036 h 8979057"/>
              <a:gd name="connsiteX30" fmla="*/ 1151527 w 14993786"/>
              <a:gd name="connsiteY30" fmla="*/ 1274036 h 8979057"/>
              <a:gd name="connsiteX31" fmla="*/ 638829 w 14993786"/>
              <a:gd name="connsiteY31" fmla="*/ 2182310 h 8979057"/>
              <a:gd name="connsiteX32" fmla="*/ 651463 w 14993786"/>
              <a:gd name="connsiteY32" fmla="*/ 2763485 h 8979057"/>
              <a:gd name="connsiteX33" fmla="*/ 976795 w 14993786"/>
              <a:gd name="connsiteY33" fmla="*/ 3233478 h 8979057"/>
              <a:gd name="connsiteX34" fmla="*/ 1357590 w 14993786"/>
              <a:gd name="connsiteY34" fmla="*/ 3233478 h 8979057"/>
              <a:gd name="connsiteX35" fmla="*/ 1494798 w 14993786"/>
              <a:gd name="connsiteY35" fmla="*/ 3054072 h 8979057"/>
              <a:gd name="connsiteX36" fmla="*/ 2541418 w 14993786"/>
              <a:gd name="connsiteY36" fmla="*/ 3054072 h 8979057"/>
              <a:gd name="connsiteX37" fmla="*/ 2775150 w 14993786"/>
              <a:gd name="connsiteY37" fmla="*/ 3479213 h 8979057"/>
              <a:gd name="connsiteX38" fmla="*/ 2775150 w 14993786"/>
              <a:gd name="connsiteY38" fmla="*/ 4018947 h 8979057"/>
              <a:gd name="connsiteX39" fmla="*/ 2961759 w 14993786"/>
              <a:gd name="connsiteY39" fmla="*/ 4339225 h 8979057"/>
              <a:gd name="connsiteX40" fmla="*/ 2961759 w 14993786"/>
              <a:gd name="connsiteY40" fmla="*/ 4666958 h 8979057"/>
              <a:gd name="connsiteX41" fmla="*/ 3296691 w 14993786"/>
              <a:gd name="connsiteY41" fmla="*/ 5227159 h 8979057"/>
              <a:gd name="connsiteX42" fmla="*/ 3296691 w 14993786"/>
              <a:gd name="connsiteY42" fmla="*/ 5573716 h 8979057"/>
              <a:gd name="connsiteX43" fmla="*/ 3519433 w 14993786"/>
              <a:gd name="connsiteY43" fmla="*/ 5864303 h 8979057"/>
              <a:gd name="connsiteX44" fmla="*/ 3707936 w 14993786"/>
              <a:gd name="connsiteY44" fmla="*/ 5864303 h 8979057"/>
              <a:gd name="connsiteX45" fmla="*/ 3858031 w 14993786"/>
              <a:gd name="connsiteY45" fmla="*/ 5616293 h 8979057"/>
              <a:gd name="connsiteX46" fmla="*/ 3858031 w 14993786"/>
              <a:gd name="connsiteY46" fmla="*/ 5371063 h 8979057"/>
              <a:gd name="connsiteX47" fmla="*/ 4333962 w 14993786"/>
              <a:gd name="connsiteY47" fmla="*/ 4609724 h 8979057"/>
              <a:gd name="connsiteX48" fmla="*/ 4338005 w 14993786"/>
              <a:gd name="connsiteY48" fmla="*/ 4017179 h 8979057"/>
              <a:gd name="connsiteX49" fmla="*/ 4609640 w 14993786"/>
              <a:gd name="connsiteY49" fmla="*/ 3560957 h 8979057"/>
              <a:gd name="connsiteX50" fmla="*/ 4993215 w 14993786"/>
              <a:gd name="connsiteY50" fmla="*/ 3559441 h 8979057"/>
              <a:gd name="connsiteX51" fmla="*/ 5266368 w 14993786"/>
              <a:gd name="connsiteY51" fmla="*/ 3098544 h 8979057"/>
              <a:gd name="connsiteX52" fmla="*/ 4580708 w 14993786"/>
              <a:gd name="connsiteY52" fmla="*/ 3096017 h 8979057"/>
              <a:gd name="connsiteX53" fmla="*/ 4221770 w 14993786"/>
              <a:gd name="connsiteY53" fmla="*/ 2507768 h 8979057"/>
              <a:gd name="connsiteX54" fmla="*/ 4236046 w 14993786"/>
              <a:gd name="connsiteY54" fmla="*/ 2127225 h 8979057"/>
              <a:gd name="connsiteX55" fmla="*/ 3906293 w 14993786"/>
              <a:gd name="connsiteY55" fmla="*/ 1643207 h 8979057"/>
              <a:gd name="connsiteX56" fmla="*/ 3097703 w 14993786"/>
              <a:gd name="connsiteY56" fmla="*/ 1638786 h 8979057"/>
              <a:gd name="connsiteX57" fmla="*/ 2847797 w 14993786"/>
              <a:gd name="connsiteY57" fmla="*/ 2076941 h 8979057"/>
              <a:gd name="connsiteX58" fmla="*/ 1932069 w 14993786"/>
              <a:gd name="connsiteY58" fmla="*/ 2076941 h 8979057"/>
              <a:gd name="connsiteX59" fmla="*/ 1706927 w 14993786"/>
              <a:gd name="connsiteY59" fmla="*/ 1657105 h 8979057"/>
              <a:gd name="connsiteX60" fmla="*/ 1368961 w 14993786"/>
              <a:gd name="connsiteY60" fmla="*/ 1657105 h 8979057"/>
              <a:gd name="connsiteX61" fmla="*/ 1018740 w 14993786"/>
              <a:gd name="connsiteY61" fmla="*/ 2321286 h 8979057"/>
              <a:gd name="connsiteX62" fmla="*/ 1025690 w 14993786"/>
              <a:gd name="connsiteY62" fmla="*/ 2653694 h 8979057"/>
              <a:gd name="connsiteX63" fmla="*/ 1095177 w 14993786"/>
              <a:gd name="connsiteY63" fmla="*/ 2745670 h 8979057"/>
              <a:gd name="connsiteX64" fmla="*/ 1206484 w 14993786"/>
              <a:gd name="connsiteY64" fmla="*/ 2743775 h 8979057"/>
              <a:gd name="connsiteX65" fmla="*/ 1302758 w 14993786"/>
              <a:gd name="connsiteY65" fmla="*/ 2662411 h 8979057"/>
              <a:gd name="connsiteX66" fmla="*/ 3350640 w 14993786"/>
              <a:gd name="connsiteY66" fmla="*/ 2663801 h 8979057"/>
              <a:gd name="connsiteX67" fmla="*/ 3551397 w 14993786"/>
              <a:gd name="connsiteY67" fmla="*/ 2270370 h 8979057"/>
              <a:gd name="connsiteX68" fmla="*/ 3584500 w 14993786"/>
              <a:gd name="connsiteY68" fmla="*/ 2270370 h 8979057"/>
              <a:gd name="connsiteX69" fmla="*/ 3647671 w 14993786"/>
              <a:gd name="connsiteY69" fmla="*/ 2353504 h 8979057"/>
              <a:gd name="connsiteX70" fmla="*/ 3647671 w 14993786"/>
              <a:gd name="connsiteY70" fmla="*/ 2771317 h 8979057"/>
              <a:gd name="connsiteX71" fmla="*/ 4031246 w 14993786"/>
              <a:gd name="connsiteY71" fmla="*/ 3414653 h 8979057"/>
              <a:gd name="connsiteX72" fmla="*/ 3752662 w 14993786"/>
              <a:gd name="connsiteY72" fmla="*/ 3832466 h 8979057"/>
              <a:gd name="connsiteX73" fmla="*/ 3744954 w 14993786"/>
              <a:gd name="connsiteY73" fmla="*/ 4456471 h 8979057"/>
              <a:gd name="connsiteX74" fmla="*/ 3622656 w 14993786"/>
              <a:gd name="connsiteY74" fmla="*/ 4641815 h 8979057"/>
              <a:gd name="connsiteX75" fmla="*/ 3511979 w 14993786"/>
              <a:gd name="connsiteY75" fmla="*/ 4455966 h 8979057"/>
              <a:gd name="connsiteX76" fmla="*/ 3511979 w 14993786"/>
              <a:gd name="connsiteY76" fmla="*/ 4076939 h 8979057"/>
              <a:gd name="connsiteX77" fmla="*/ 3374140 w 14993786"/>
              <a:gd name="connsiteY77" fmla="*/ 3851165 h 8979057"/>
              <a:gd name="connsiteX78" fmla="*/ 3374140 w 14993786"/>
              <a:gd name="connsiteY78" fmla="*/ 3321665 h 8979057"/>
              <a:gd name="connsiteX79" fmla="*/ 3209895 w 14993786"/>
              <a:gd name="connsiteY79" fmla="*/ 3043712 h 8979057"/>
              <a:gd name="connsiteX80" fmla="*/ 3381846 w 14993786"/>
              <a:gd name="connsiteY80" fmla="*/ 3043712 h 8979057"/>
              <a:gd name="connsiteX81" fmla="*/ 3599535 w 14993786"/>
              <a:gd name="connsiteY81" fmla="*/ 3385973 h 8979057"/>
              <a:gd name="connsiteX82" fmla="*/ 3432635 w 14993786"/>
              <a:gd name="connsiteY82" fmla="*/ 3638658 h 8979057"/>
              <a:gd name="connsiteX83" fmla="*/ 3432635 w 14993786"/>
              <a:gd name="connsiteY83" fmla="*/ 3763104 h 8979057"/>
              <a:gd name="connsiteX84" fmla="*/ 3647417 w 14993786"/>
              <a:gd name="connsiteY84" fmla="*/ 3763104 h 8979057"/>
              <a:gd name="connsiteX85" fmla="*/ 3647417 w 14993786"/>
              <a:gd name="connsiteY85" fmla="*/ 3703345 h 8979057"/>
              <a:gd name="connsiteX86" fmla="*/ 3855503 w 14993786"/>
              <a:gd name="connsiteY86" fmla="*/ 3389005 h 8979057"/>
              <a:gd name="connsiteX87" fmla="*/ 3499724 w 14993786"/>
              <a:gd name="connsiteY87" fmla="*/ 2829562 h 8979057"/>
              <a:gd name="connsiteX88" fmla="*/ 2833395 w 14993786"/>
              <a:gd name="connsiteY88" fmla="*/ 2829562 h 8979057"/>
              <a:gd name="connsiteX89" fmla="*/ 3158727 w 14993786"/>
              <a:gd name="connsiteY89" fmla="*/ 3380540 h 8979057"/>
              <a:gd name="connsiteX90" fmla="*/ 3158727 w 14993786"/>
              <a:gd name="connsiteY90" fmla="*/ 3911178 h 8979057"/>
              <a:gd name="connsiteX91" fmla="*/ 3296565 w 14993786"/>
              <a:gd name="connsiteY91" fmla="*/ 4136952 h 8979057"/>
              <a:gd name="connsiteX92" fmla="*/ 3296565 w 14993786"/>
              <a:gd name="connsiteY92" fmla="*/ 4514083 h 8979057"/>
              <a:gd name="connsiteX93" fmla="*/ 3612421 w 14993786"/>
              <a:gd name="connsiteY93" fmla="*/ 5043836 h 8979057"/>
              <a:gd name="connsiteX94" fmla="*/ 3958978 w 14993786"/>
              <a:gd name="connsiteY94" fmla="*/ 4522043 h 8979057"/>
              <a:gd name="connsiteX95" fmla="*/ 3966558 w 14993786"/>
              <a:gd name="connsiteY95" fmla="*/ 3898291 h 8979057"/>
              <a:gd name="connsiteX96" fmla="*/ 4285067 w 14993786"/>
              <a:gd name="connsiteY96" fmla="*/ 3420464 h 8979057"/>
              <a:gd name="connsiteX97" fmla="*/ 3862452 w 14993786"/>
              <a:gd name="connsiteY97" fmla="*/ 2712442 h 8979057"/>
              <a:gd name="connsiteX98" fmla="*/ 3862452 w 14993786"/>
              <a:gd name="connsiteY98" fmla="*/ 2281616 h 8979057"/>
              <a:gd name="connsiteX99" fmla="*/ 3691258 w 14993786"/>
              <a:gd name="connsiteY99" fmla="*/ 2055968 h 8979057"/>
              <a:gd name="connsiteX100" fmla="*/ 3420001 w 14993786"/>
              <a:gd name="connsiteY100" fmla="*/ 2055968 h 8979057"/>
              <a:gd name="connsiteX101" fmla="*/ 3219749 w 14993786"/>
              <a:gd name="connsiteY101" fmla="*/ 2448766 h 8979057"/>
              <a:gd name="connsiteX102" fmla="*/ 1236175 w 14993786"/>
              <a:gd name="connsiteY102" fmla="*/ 2447629 h 8979057"/>
              <a:gd name="connsiteX103" fmla="*/ 1234659 w 14993786"/>
              <a:gd name="connsiteY103" fmla="*/ 2371823 h 8979057"/>
              <a:gd name="connsiteX104" fmla="*/ 1497957 w 14993786"/>
              <a:gd name="connsiteY104" fmla="*/ 1871382 h 8979057"/>
              <a:gd name="connsiteX105" fmla="*/ 1578310 w 14993786"/>
              <a:gd name="connsiteY105" fmla="*/ 1871382 h 8979057"/>
              <a:gd name="connsiteX106" fmla="*/ 1803579 w 14993786"/>
              <a:gd name="connsiteY106" fmla="*/ 2291216 h 8979057"/>
              <a:gd name="connsiteX107" fmla="*/ 2972624 w 14993786"/>
              <a:gd name="connsiteY107" fmla="*/ 2291216 h 8979057"/>
              <a:gd name="connsiteX108" fmla="*/ 3222024 w 14993786"/>
              <a:gd name="connsiteY108" fmla="*/ 1853820 h 8979057"/>
              <a:gd name="connsiteX109" fmla="*/ 3792712 w 14993786"/>
              <a:gd name="connsiteY109" fmla="*/ 1856852 h 8979057"/>
              <a:gd name="connsiteX110" fmla="*/ 4019117 w 14993786"/>
              <a:gd name="connsiteY110" fmla="*/ 2189259 h 8979057"/>
              <a:gd name="connsiteX111" fmla="*/ 4005092 w 14993786"/>
              <a:gd name="connsiteY111" fmla="*/ 2563864 h 8979057"/>
              <a:gd name="connsiteX112" fmla="*/ 4459925 w 14993786"/>
              <a:gd name="connsiteY112" fmla="*/ 3310294 h 8979057"/>
              <a:gd name="connsiteX113" fmla="*/ 4890120 w 14993786"/>
              <a:gd name="connsiteY113" fmla="*/ 3311936 h 8979057"/>
              <a:gd name="connsiteX114" fmla="*/ 4870538 w 14993786"/>
              <a:gd name="connsiteY114" fmla="*/ 3344912 h 8979057"/>
              <a:gd name="connsiteX115" fmla="*/ 4487341 w 14993786"/>
              <a:gd name="connsiteY115" fmla="*/ 3346301 h 8979057"/>
              <a:gd name="connsiteX116" fmla="*/ 4123602 w 14993786"/>
              <a:gd name="connsiteY116" fmla="*/ 3957166 h 8979057"/>
              <a:gd name="connsiteX117" fmla="*/ 4119559 w 14993786"/>
              <a:gd name="connsiteY117" fmla="*/ 4547185 h 8979057"/>
              <a:gd name="connsiteX118" fmla="*/ 3643248 w 14993786"/>
              <a:gd name="connsiteY118" fmla="*/ 5309408 h 8979057"/>
              <a:gd name="connsiteX119" fmla="*/ 3643248 w 14993786"/>
              <a:gd name="connsiteY119" fmla="*/ 5556786 h 8979057"/>
              <a:gd name="connsiteX120" fmla="*/ 3603704 w 14993786"/>
              <a:gd name="connsiteY120" fmla="*/ 5622106 h 8979057"/>
              <a:gd name="connsiteX121" fmla="*/ 3511095 w 14993786"/>
              <a:gd name="connsiteY121" fmla="*/ 5501448 h 8979057"/>
              <a:gd name="connsiteX122" fmla="*/ 3511095 w 14993786"/>
              <a:gd name="connsiteY122" fmla="*/ 5168410 h 8979057"/>
              <a:gd name="connsiteX123" fmla="*/ 3176161 w 14993786"/>
              <a:gd name="connsiteY123" fmla="*/ 4608082 h 8979057"/>
              <a:gd name="connsiteX124" fmla="*/ 3176161 w 14993786"/>
              <a:gd name="connsiteY124" fmla="*/ 4281108 h 8979057"/>
              <a:gd name="connsiteX125" fmla="*/ 2989554 w 14993786"/>
              <a:gd name="connsiteY125" fmla="*/ 3960830 h 8979057"/>
              <a:gd name="connsiteX126" fmla="*/ 2989554 w 14993786"/>
              <a:gd name="connsiteY126" fmla="*/ 3424002 h 8979057"/>
              <a:gd name="connsiteX127" fmla="*/ 2668517 w 14993786"/>
              <a:gd name="connsiteY127" fmla="*/ 2839290 h 8979057"/>
              <a:gd name="connsiteX128" fmla="*/ 1388671 w 14993786"/>
              <a:gd name="connsiteY128" fmla="*/ 2839290 h 8979057"/>
              <a:gd name="connsiteX129" fmla="*/ 1251590 w 14993786"/>
              <a:gd name="connsiteY129" fmla="*/ 3018316 h 8979057"/>
              <a:gd name="connsiteX130" fmla="*/ 1089239 w 14993786"/>
              <a:gd name="connsiteY130" fmla="*/ 3018316 h 8979057"/>
              <a:gd name="connsiteX131" fmla="*/ 864224 w 14993786"/>
              <a:gd name="connsiteY131" fmla="*/ 2693869 h 8979057"/>
              <a:gd name="connsiteX132" fmla="*/ 854622 w 14993786"/>
              <a:gd name="connsiteY132" fmla="*/ 2236638 h 8979057"/>
              <a:gd name="connsiteX133" fmla="*/ 1276605 w 14993786"/>
              <a:gd name="connsiteY133" fmla="*/ 1488944 h 8979057"/>
              <a:gd name="connsiteX134" fmla="*/ 1757842 w 14993786"/>
              <a:gd name="connsiteY134" fmla="*/ 1488944 h 8979057"/>
              <a:gd name="connsiteX135" fmla="*/ 2026952 w 14993786"/>
              <a:gd name="connsiteY135" fmla="*/ 1948955 h 8979057"/>
              <a:gd name="connsiteX136" fmla="*/ 2781594 w 14993786"/>
              <a:gd name="connsiteY136" fmla="*/ 1948955 h 8979057"/>
              <a:gd name="connsiteX137" fmla="*/ 3026698 w 14993786"/>
              <a:gd name="connsiteY137" fmla="*/ 1501578 h 8979057"/>
              <a:gd name="connsiteX138" fmla="*/ 3941796 w 14993786"/>
              <a:gd name="connsiteY138" fmla="*/ 1501578 h 8979057"/>
              <a:gd name="connsiteX139" fmla="*/ 4351524 w 14993786"/>
              <a:gd name="connsiteY139" fmla="*/ 2067717 h 8979057"/>
              <a:gd name="connsiteX140" fmla="*/ 4350891 w 14993786"/>
              <a:gd name="connsiteY140" fmla="*/ 2487932 h 8979057"/>
              <a:gd name="connsiteX141" fmla="*/ 4653102 w 14993786"/>
              <a:gd name="connsiteY141" fmla="*/ 3007199 h 8979057"/>
              <a:gd name="connsiteX142" fmla="*/ 5432888 w 14993786"/>
              <a:gd name="connsiteY142" fmla="*/ 3007199 h 8979057"/>
              <a:gd name="connsiteX143" fmla="*/ 5065483 w 14993786"/>
              <a:gd name="connsiteY143" fmla="*/ 3649776 h 8979057"/>
              <a:gd name="connsiteX144" fmla="*/ 4771358 w 14993786"/>
              <a:gd name="connsiteY144" fmla="*/ 3646618 h 8979057"/>
              <a:gd name="connsiteX145" fmla="*/ 4474201 w 14993786"/>
              <a:gd name="connsiteY145" fmla="*/ 4115347 h 8979057"/>
              <a:gd name="connsiteX146" fmla="*/ 4474201 w 14993786"/>
              <a:gd name="connsiteY146" fmla="*/ 4653691 h 8979057"/>
              <a:gd name="connsiteX147" fmla="*/ 3962136 w 14993786"/>
              <a:gd name="connsiteY147" fmla="*/ 5456344 h 8979057"/>
              <a:gd name="connsiteX148" fmla="*/ 3962136 w 14993786"/>
              <a:gd name="connsiteY148" fmla="*/ 5746173 h 8979057"/>
              <a:gd name="connsiteX149" fmla="*/ 3780330 w 14993786"/>
              <a:gd name="connsiteY149" fmla="*/ 6048637 h 8979057"/>
              <a:gd name="connsiteX150" fmla="*/ 3430993 w 14993786"/>
              <a:gd name="connsiteY150" fmla="*/ 6046490 h 8979057"/>
              <a:gd name="connsiteX151" fmla="*/ 3135478 w 14993786"/>
              <a:gd name="connsiteY151" fmla="*/ 5698668 h 8979057"/>
              <a:gd name="connsiteX152" fmla="*/ 3135478 w 14993786"/>
              <a:gd name="connsiteY152" fmla="*/ 5258366 h 8979057"/>
              <a:gd name="connsiteX153" fmla="*/ 2822908 w 14993786"/>
              <a:gd name="connsiteY153" fmla="*/ 4689826 h 8979057"/>
              <a:gd name="connsiteX154" fmla="*/ 2823919 w 14993786"/>
              <a:gd name="connsiteY154" fmla="*/ 4345543 h 8979057"/>
              <a:gd name="connsiteX155" fmla="*/ 2637817 w 14993786"/>
              <a:gd name="connsiteY155" fmla="*/ 4021474 h 8979057"/>
              <a:gd name="connsiteX156" fmla="*/ 2637817 w 14993786"/>
              <a:gd name="connsiteY156" fmla="*/ 3498544 h 8979057"/>
              <a:gd name="connsiteX157" fmla="*/ 2496060 w 14993786"/>
              <a:gd name="connsiteY157" fmla="*/ 3244975 h 8979057"/>
              <a:gd name="connsiteX158" fmla="*/ 1511222 w 14993786"/>
              <a:gd name="connsiteY158" fmla="*/ 3244975 h 8979057"/>
              <a:gd name="connsiteX159" fmla="*/ 1428974 w 14993786"/>
              <a:gd name="connsiteY159" fmla="*/ 3387615 h 8979057"/>
              <a:gd name="connsiteX160" fmla="*/ 878879 w 14993786"/>
              <a:gd name="connsiteY160" fmla="*/ 3387615 h 8979057"/>
              <a:gd name="connsiteX161" fmla="*/ 510719 w 14993786"/>
              <a:gd name="connsiteY161" fmla="*/ 2815285 h 8979057"/>
              <a:gd name="connsiteX162" fmla="*/ 510719 w 14993786"/>
              <a:gd name="connsiteY162" fmla="*/ 2118254 h 8979057"/>
              <a:gd name="connsiteX163" fmla="*/ 1097958 w 14993786"/>
              <a:gd name="connsiteY163" fmla="*/ 1131901 h 8979057"/>
              <a:gd name="connsiteX164" fmla="*/ 1980710 w 14993786"/>
              <a:gd name="connsiteY164" fmla="*/ 1131901 h 8979057"/>
              <a:gd name="connsiteX165" fmla="*/ 2214570 w 14993786"/>
              <a:gd name="connsiteY165" fmla="*/ 1518003 h 8979057"/>
              <a:gd name="connsiteX166" fmla="*/ 2597134 w 14993786"/>
              <a:gd name="connsiteY166" fmla="*/ 1515476 h 8979057"/>
              <a:gd name="connsiteX167" fmla="*/ 2807999 w 14993786"/>
              <a:gd name="connsiteY167" fmla="*/ 1131901 h 8979057"/>
              <a:gd name="connsiteX168" fmla="*/ 9354804 w 14993786"/>
              <a:gd name="connsiteY168" fmla="*/ 1131901 h 8979057"/>
              <a:gd name="connsiteX169" fmla="*/ 9354804 w 14993786"/>
              <a:gd name="connsiteY169" fmla="*/ 917119 h 8979057"/>
              <a:gd name="connsiteX170" fmla="*/ 2680900 w 14993786"/>
              <a:gd name="connsiteY170" fmla="*/ 917119 h 8979057"/>
              <a:gd name="connsiteX171" fmla="*/ 2469907 w 14993786"/>
              <a:gd name="connsiteY171" fmla="*/ 1301452 h 8979057"/>
              <a:gd name="connsiteX172" fmla="*/ 2335353 w 14993786"/>
              <a:gd name="connsiteY172" fmla="*/ 1302336 h 8979057"/>
              <a:gd name="connsiteX173" fmla="*/ 2101747 w 14993786"/>
              <a:gd name="connsiteY173" fmla="*/ 917119 h 8979057"/>
              <a:gd name="connsiteX174" fmla="*/ 975910 w 14993786"/>
              <a:gd name="connsiteY174" fmla="*/ 917119 h 8979057"/>
              <a:gd name="connsiteX175" fmla="*/ 0 w 14993786"/>
              <a:gd name="connsiteY175" fmla="*/ 524645 h 8979057"/>
              <a:gd name="connsiteX176" fmla="*/ 11066971 w 14993786"/>
              <a:gd name="connsiteY176" fmla="*/ 0 h 8979057"/>
              <a:gd name="connsiteX177" fmla="*/ 11836545 w 14993786"/>
              <a:gd name="connsiteY177" fmla="*/ 0 h 8979057"/>
              <a:gd name="connsiteX178" fmla="*/ 11849796 w 14993786"/>
              <a:gd name="connsiteY178" fmla="*/ 0 h 8979057"/>
              <a:gd name="connsiteX179" fmla="*/ 11849796 w 14993786"/>
              <a:gd name="connsiteY179" fmla="*/ 6880472 h 8979057"/>
              <a:gd name="connsiteX180" fmla="*/ 11836545 w 14993786"/>
              <a:gd name="connsiteY180" fmla="*/ 6880472 h 8979057"/>
              <a:gd name="connsiteX181" fmla="*/ 14993786 w 14993786"/>
              <a:gd name="connsiteY181" fmla="*/ 8969688 h 8979057"/>
              <a:gd name="connsiteX182" fmla="*/ 28106 w 14993786"/>
              <a:gd name="connsiteY182" fmla="*/ 8979057 h 8979057"/>
              <a:gd name="connsiteX183" fmla="*/ 0 w 14993786"/>
              <a:gd name="connsiteY183" fmla="*/ 524645 h 8979057"/>
              <a:gd name="connsiteX0" fmla="*/ 975910 w 14997669"/>
              <a:gd name="connsiteY0" fmla="*/ 917119 h 8979057"/>
              <a:gd name="connsiteX1" fmla="*/ 295937 w 14997669"/>
              <a:gd name="connsiteY1" fmla="*/ 2059126 h 8979057"/>
              <a:gd name="connsiteX2" fmla="*/ 295937 w 14997669"/>
              <a:gd name="connsiteY2" fmla="*/ 2878457 h 8979057"/>
              <a:gd name="connsiteX3" fmla="*/ 761887 w 14997669"/>
              <a:gd name="connsiteY3" fmla="*/ 3602271 h 8979057"/>
              <a:gd name="connsiteX4" fmla="*/ 1553042 w 14997669"/>
              <a:gd name="connsiteY4" fmla="*/ 3602271 h 8979057"/>
              <a:gd name="connsiteX5" fmla="*/ 1635417 w 14997669"/>
              <a:gd name="connsiteY5" fmla="*/ 3459631 h 8979057"/>
              <a:gd name="connsiteX6" fmla="*/ 2369844 w 14997669"/>
              <a:gd name="connsiteY6" fmla="*/ 3459631 h 8979057"/>
              <a:gd name="connsiteX7" fmla="*/ 2422782 w 14997669"/>
              <a:gd name="connsiteY7" fmla="*/ 3554387 h 8979057"/>
              <a:gd name="connsiteX8" fmla="*/ 2422782 w 14997669"/>
              <a:gd name="connsiteY8" fmla="*/ 4078708 h 8979057"/>
              <a:gd name="connsiteX9" fmla="*/ 2608758 w 14997669"/>
              <a:gd name="connsiteY9" fmla="*/ 4402397 h 8979057"/>
              <a:gd name="connsiteX10" fmla="*/ 2607747 w 14997669"/>
              <a:gd name="connsiteY10" fmla="*/ 4744531 h 8979057"/>
              <a:gd name="connsiteX11" fmla="*/ 2920445 w 14997669"/>
              <a:gd name="connsiteY11" fmla="*/ 5313072 h 8979057"/>
              <a:gd name="connsiteX12" fmla="*/ 2920445 w 14997669"/>
              <a:gd name="connsiteY12" fmla="*/ 5777000 h 8979057"/>
              <a:gd name="connsiteX13" fmla="*/ 3331310 w 14997669"/>
              <a:gd name="connsiteY13" fmla="*/ 6260639 h 8979057"/>
              <a:gd name="connsiteX14" fmla="*/ 3901618 w 14997669"/>
              <a:gd name="connsiteY14" fmla="*/ 6264176 h 8979057"/>
              <a:gd name="connsiteX15" fmla="*/ 4177171 w 14997669"/>
              <a:gd name="connsiteY15" fmla="*/ 5805807 h 8979057"/>
              <a:gd name="connsiteX16" fmla="*/ 4177171 w 14997669"/>
              <a:gd name="connsiteY16" fmla="*/ 5519010 h 8979057"/>
              <a:gd name="connsiteX17" fmla="*/ 4689236 w 14997669"/>
              <a:gd name="connsiteY17" fmla="*/ 4716736 h 8979057"/>
              <a:gd name="connsiteX18" fmla="*/ 4689236 w 14997669"/>
              <a:gd name="connsiteY18" fmla="*/ 4178518 h 8979057"/>
              <a:gd name="connsiteX19" fmla="*/ 4888983 w 14997669"/>
              <a:gd name="connsiteY19" fmla="*/ 3862662 h 8979057"/>
              <a:gd name="connsiteX20" fmla="*/ 5190309 w 14997669"/>
              <a:gd name="connsiteY20" fmla="*/ 3866200 h 8979057"/>
              <a:gd name="connsiteX21" fmla="*/ 5804081 w 14997669"/>
              <a:gd name="connsiteY21" fmla="*/ 2792291 h 8979057"/>
              <a:gd name="connsiteX22" fmla="*/ 4777423 w 14997669"/>
              <a:gd name="connsiteY22" fmla="*/ 2792291 h 8979057"/>
              <a:gd name="connsiteX23" fmla="*/ 4566558 w 14997669"/>
              <a:gd name="connsiteY23" fmla="*/ 2429941 h 8979057"/>
              <a:gd name="connsiteX24" fmla="*/ 4566558 w 14997669"/>
              <a:gd name="connsiteY24" fmla="*/ 1998230 h 8979057"/>
              <a:gd name="connsiteX25" fmla="*/ 4051840 w 14997669"/>
              <a:gd name="connsiteY25" fmla="*/ 1286670 h 8979057"/>
              <a:gd name="connsiteX26" fmla="*/ 2899598 w 14997669"/>
              <a:gd name="connsiteY26" fmla="*/ 1286670 h 8979057"/>
              <a:gd name="connsiteX27" fmla="*/ 2654494 w 14997669"/>
              <a:gd name="connsiteY27" fmla="*/ 1734048 h 8979057"/>
              <a:gd name="connsiteX28" fmla="*/ 2150388 w 14997669"/>
              <a:gd name="connsiteY28" fmla="*/ 1734048 h 8979057"/>
              <a:gd name="connsiteX29" fmla="*/ 1881280 w 14997669"/>
              <a:gd name="connsiteY29" fmla="*/ 1274036 h 8979057"/>
              <a:gd name="connsiteX30" fmla="*/ 1151527 w 14997669"/>
              <a:gd name="connsiteY30" fmla="*/ 1274036 h 8979057"/>
              <a:gd name="connsiteX31" fmla="*/ 638829 w 14997669"/>
              <a:gd name="connsiteY31" fmla="*/ 2182310 h 8979057"/>
              <a:gd name="connsiteX32" fmla="*/ 651463 w 14997669"/>
              <a:gd name="connsiteY32" fmla="*/ 2763485 h 8979057"/>
              <a:gd name="connsiteX33" fmla="*/ 976795 w 14997669"/>
              <a:gd name="connsiteY33" fmla="*/ 3233478 h 8979057"/>
              <a:gd name="connsiteX34" fmla="*/ 1357590 w 14997669"/>
              <a:gd name="connsiteY34" fmla="*/ 3233478 h 8979057"/>
              <a:gd name="connsiteX35" fmla="*/ 1494798 w 14997669"/>
              <a:gd name="connsiteY35" fmla="*/ 3054072 h 8979057"/>
              <a:gd name="connsiteX36" fmla="*/ 2541418 w 14997669"/>
              <a:gd name="connsiteY36" fmla="*/ 3054072 h 8979057"/>
              <a:gd name="connsiteX37" fmla="*/ 2775150 w 14997669"/>
              <a:gd name="connsiteY37" fmla="*/ 3479213 h 8979057"/>
              <a:gd name="connsiteX38" fmla="*/ 2775150 w 14997669"/>
              <a:gd name="connsiteY38" fmla="*/ 4018947 h 8979057"/>
              <a:gd name="connsiteX39" fmla="*/ 2961759 w 14997669"/>
              <a:gd name="connsiteY39" fmla="*/ 4339225 h 8979057"/>
              <a:gd name="connsiteX40" fmla="*/ 2961759 w 14997669"/>
              <a:gd name="connsiteY40" fmla="*/ 4666958 h 8979057"/>
              <a:gd name="connsiteX41" fmla="*/ 3296691 w 14997669"/>
              <a:gd name="connsiteY41" fmla="*/ 5227159 h 8979057"/>
              <a:gd name="connsiteX42" fmla="*/ 3296691 w 14997669"/>
              <a:gd name="connsiteY42" fmla="*/ 5573716 h 8979057"/>
              <a:gd name="connsiteX43" fmla="*/ 3519433 w 14997669"/>
              <a:gd name="connsiteY43" fmla="*/ 5864303 h 8979057"/>
              <a:gd name="connsiteX44" fmla="*/ 3707936 w 14997669"/>
              <a:gd name="connsiteY44" fmla="*/ 5864303 h 8979057"/>
              <a:gd name="connsiteX45" fmla="*/ 3858031 w 14997669"/>
              <a:gd name="connsiteY45" fmla="*/ 5616293 h 8979057"/>
              <a:gd name="connsiteX46" fmla="*/ 3858031 w 14997669"/>
              <a:gd name="connsiteY46" fmla="*/ 5371063 h 8979057"/>
              <a:gd name="connsiteX47" fmla="*/ 4333962 w 14997669"/>
              <a:gd name="connsiteY47" fmla="*/ 4609724 h 8979057"/>
              <a:gd name="connsiteX48" fmla="*/ 4338005 w 14997669"/>
              <a:gd name="connsiteY48" fmla="*/ 4017179 h 8979057"/>
              <a:gd name="connsiteX49" fmla="*/ 4609640 w 14997669"/>
              <a:gd name="connsiteY49" fmla="*/ 3560957 h 8979057"/>
              <a:gd name="connsiteX50" fmla="*/ 4993215 w 14997669"/>
              <a:gd name="connsiteY50" fmla="*/ 3559441 h 8979057"/>
              <a:gd name="connsiteX51" fmla="*/ 5266368 w 14997669"/>
              <a:gd name="connsiteY51" fmla="*/ 3098544 h 8979057"/>
              <a:gd name="connsiteX52" fmla="*/ 4580708 w 14997669"/>
              <a:gd name="connsiteY52" fmla="*/ 3096017 h 8979057"/>
              <a:gd name="connsiteX53" fmla="*/ 4221770 w 14997669"/>
              <a:gd name="connsiteY53" fmla="*/ 2507768 h 8979057"/>
              <a:gd name="connsiteX54" fmla="*/ 4236046 w 14997669"/>
              <a:gd name="connsiteY54" fmla="*/ 2127225 h 8979057"/>
              <a:gd name="connsiteX55" fmla="*/ 3906293 w 14997669"/>
              <a:gd name="connsiteY55" fmla="*/ 1643207 h 8979057"/>
              <a:gd name="connsiteX56" fmla="*/ 3097703 w 14997669"/>
              <a:gd name="connsiteY56" fmla="*/ 1638786 h 8979057"/>
              <a:gd name="connsiteX57" fmla="*/ 2847797 w 14997669"/>
              <a:gd name="connsiteY57" fmla="*/ 2076941 h 8979057"/>
              <a:gd name="connsiteX58" fmla="*/ 1932069 w 14997669"/>
              <a:gd name="connsiteY58" fmla="*/ 2076941 h 8979057"/>
              <a:gd name="connsiteX59" fmla="*/ 1706927 w 14997669"/>
              <a:gd name="connsiteY59" fmla="*/ 1657105 h 8979057"/>
              <a:gd name="connsiteX60" fmla="*/ 1368961 w 14997669"/>
              <a:gd name="connsiteY60" fmla="*/ 1657105 h 8979057"/>
              <a:gd name="connsiteX61" fmla="*/ 1018740 w 14997669"/>
              <a:gd name="connsiteY61" fmla="*/ 2321286 h 8979057"/>
              <a:gd name="connsiteX62" fmla="*/ 1025690 w 14997669"/>
              <a:gd name="connsiteY62" fmla="*/ 2653694 h 8979057"/>
              <a:gd name="connsiteX63" fmla="*/ 1095177 w 14997669"/>
              <a:gd name="connsiteY63" fmla="*/ 2745670 h 8979057"/>
              <a:gd name="connsiteX64" fmla="*/ 1206484 w 14997669"/>
              <a:gd name="connsiteY64" fmla="*/ 2743775 h 8979057"/>
              <a:gd name="connsiteX65" fmla="*/ 1302758 w 14997669"/>
              <a:gd name="connsiteY65" fmla="*/ 2662411 h 8979057"/>
              <a:gd name="connsiteX66" fmla="*/ 3350640 w 14997669"/>
              <a:gd name="connsiteY66" fmla="*/ 2663801 h 8979057"/>
              <a:gd name="connsiteX67" fmla="*/ 3551397 w 14997669"/>
              <a:gd name="connsiteY67" fmla="*/ 2270370 h 8979057"/>
              <a:gd name="connsiteX68" fmla="*/ 3584500 w 14997669"/>
              <a:gd name="connsiteY68" fmla="*/ 2270370 h 8979057"/>
              <a:gd name="connsiteX69" fmla="*/ 3647671 w 14997669"/>
              <a:gd name="connsiteY69" fmla="*/ 2353504 h 8979057"/>
              <a:gd name="connsiteX70" fmla="*/ 3647671 w 14997669"/>
              <a:gd name="connsiteY70" fmla="*/ 2771317 h 8979057"/>
              <a:gd name="connsiteX71" fmla="*/ 4031246 w 14997669"/>
              <a:gd name="connsiteY71" fmla="*/ 3414653 h 8979057"/>
              <a:gd name="connsiteX72" fmla="*/ 3752662 w 14997669"/>
              <a:gd name="connsiteY72" fmla="*/ 3832466 h 8979057"/>
              <a:gd name="connsiteX73" fmla="*/ 3744954 w 14997669"/>
              <a:gd name="connsiteY73" fmla="*/ 4456471 h 8979057"/>
              <a:gd name="connsiteX74" fmla="*/ 3622656 w 14997669"/>
              <a:gd name="connsiteY74" fmla="*/ 4641815 h 8979057"/>
              <a:gd name="connsiteX75" fmla="*/ 3511979 w 14997669"/>
              <a:gd name="connsiteY75" fmla="*/ 4455966 h 8979057"/>
              <a:gd name="connsiteX76" fmla="*/ 3511979 w 14997669"/>
              <a:gd name="connsiteY76" fmla="*/ 4076939 h 8979057"/>
              <a:gd name="connsiteX77" fmla="*/ 3374140 w 14997669"/>
              <a:gd name="connsiteY77" fmla="*/ 3851165 h 8979057"/>
              <a:gd name="connsiteX78" fmla="*/ 3374140 w 14997669"/>
              <a:gd name="connsiteY78" fmla="*/ 3321665 h 8979057"/>
              <a:gd name="connsiteX79" fmla="*/ 3209895 w 14997669"/>
              <a:gd name="connsiteY79" fmla="*/ 3043712 h 8979057"/>
              <a:gd name="connsiteX80" fmla="*/ 3381846 w 14997669"/>
              <a:gd name="connsiteY80" fmla="*/ 3043712 h 8979057"/>
              <a:gd name="connsiteX81" fmla="*/ 3599535 w 14997669"/>
              <a:gd name="connsiteY81" fmla="*/ 3385973 h 8979057"/>
              <a:gd name="connsiteX82" fmla="*/ 3432635 w 14997669"/>
              <a:gd name="connsiteY82" fmla="*/ 3638658 h 8979057"/>
              <a:gd name="connsiteX83" fmla="*/ 3432635 w 14997669"/>
              <a:gd name="connsiteY83" fmla="*/ 3763104 h 8979057"/>
              <a:gd name="connsiteX84" fmla="*/ 3647417 w 14997669"/>
              <a:gd name="connsiteY84" fmla="*/ 3763104 h 8979057"/>
              <a:gd name="connsiteX85" fmla="*/ 3647417 w 14997669"/>
              <a:gd name="connsiteY85" fmla="*/ 3703345 h 8979057"/>
              <a:gd name="connsiteX86" fmla="*/ 3855503 w 14997669"/>
              <a:gd name="connsiteY86" fmla="*/ 3389005 h 8979057"/>
              <a:gd name="connsiteX87" fmla="*/ 3499724 w 14997669"/>
              <a:gd name="connsiteY87" fmla="*/ 2829562 h 8979057"/>
              <a:gd name="connsiteX88" fmla="*/ 2833395 w 14997669"/>
              <a:gd name="connsiteY88" fmla="*/ 2829562 h 8979057"/>
              <a:gd name="connsiteX89" fmla="*/ 3158727 w 14997669"/>
              <a:gd name="connsiteY89" fmla="*/ 3380540 h 8979057"/>
              <a:gd name="connsiteX90" fmla="*/ 3158727 w 14997669"/>
              <a:gd name="connsiteY90" fmla="*/ 3911178 h 8979057"/>
              <a:gd name="connsiteX91" fmla="*/ 3296565 w 14997669"/>
              <a:gd name="connsiteY91" fmla="*/ 4136952 h 8979057"/>
              <a:gd name="connsiteX92" fmla="*/ 3296565 w 14997669"/>
              <a:gd name="connsiteY92" fmla="*/ 4514083 h 8979057"/>
              <a:gd name="connsiteX93" fmla="*/ 3612421 w 14997669"/>
              <a:gd name="connsiteY93" fmla="*/ 5043836 h 8979057"/>
              <a:gd name="connsiteX94" fmla="*/ 3958978 w 14997669"/>
              <a:gd name="connsiteY94" fmla="*/ 4522043 h 8979057"/>
              <a:gd name="connsiteX95" fmla="*/ 3966558 w 14997669"/>
              <a:gd name="connsiteY95" fmla="*/ 3898291 h 8979057"/>
              <a:gd name="connsiteX96" fmla="*/ 4285067 w 14997669"/>
              <a:gd name="connsiteY96" fmla="*/ 3420464 h 8979057"/>
              <a:gd name="connsiteX97" fmla="*/ 3862452 w 14997669"/>
              <a:gd name="connsiteY97" fmla="*/ 2712442 h 8979057"/>
              <a:gd name="connsiteX98" fmla="*/ 3862452 w 14997669"/>
              <a:gd name="connsiteY98" fmla="*/ 2281616 h 8979057"/>
              <a:gd name="connsiteX99" fmla="*/ 3691258 w 14997669"/>
              <a:gd name="connsiteY99" fmla="*/ 2055968 h 8979057"/>
              <a:gd name="connsiteX100" fmla="*/ 3420001 w 14997669"/>
              <a:gd name="connsiteY100" fmla="*/ 2055968 h 8979057"/>
              <a:gd name="connsiteX101" fmla="*/ 3219749 w 14997669"/>
              <a:gd name="connsiteY101" fmla="*/ 2448766 h 8979057"/>
              <a:gd name="connsiteX102" fmla="*/ 1236175 w 14997669"/>
              <a:gd name="connsiteY102" fmla="*/ 2447629 h 8979057"/>
              <a:gd name="connsiteX103" fmla="*/ 1234659 w 14997669"/>
              <a:gd name="connsiteY103" fmla="*/ 2371823 h 8979057"/>
              <a:gd name="connsiteX104" fmla="*/ 1497957 w 14997669"/>
              <a:gd name="connsiteY104" fmla="*/ 1871382 h 8979057"/>
              <a:gd name="connsiteX105" fmla="*/ 1578310 w 14997669"/>
              <a:gd name="connsiteY105" fmla="*/ 1871382 h 8979057"/>
              <a:gd name="connsiteX106" fmla="*/ 1803579 w 14997669"/>
              <a:gd name="connsiteY106" fmla="*/ 2291216 h 8979057"/>
              <a:gd name="connsiteX107" fmla="*/ 2972624 w 14997669"/>
              <a:gd name="connsiteY107" fmla="*/ 2291216 h 8979057"/>
              <a:gd name="connsiteX108" fmla="*/ 3222024 w 14997669"/>
              <a:gd name="connsiteY108" fmla="*/ 1853820 h 8979057"/>
              <a:gd name="connsiteX109" fmla="*/ 3792712 w 14997669"/>
              <a:gd name="connsiteY109" fmla="*/ 1856852 h 8979057"/>
              <a:gd name="connsiteX110" fmla="*/ 4019117 w 14997669"/>
              <a:gd name="connsiteY110" fmla="*/ 2189259 h 8979057"/>
              <a:gd name="connsiteX111" fmla="*/ 4005092 w 14997669"/>
              <a:gd name="connsiteY111" fmla="*/ 2563864 h 8979057"/>
              <a:gd name="connsiteX112" fmla="*/ 4459925 w 14997669"/>
              <a:gd name="connsiteY112" fmla="*/ 3310294 h 8979057"/>
              <a:gd name="connsiteX113" fmla="*/ 4890120 w 14997669"/>
              <a:gd name="connsiteY113" fmla="*/ 3311936 h 8979057"/>
              <a:gd name="connsiteX114" fmla="*/ 4870538 w 14997669"/>
              <a:gd name="connsiteY114" fmla="*/ 3344912 h 8979057"/>
              <a:gd name="connsiteX115" fmla="*/ 4487341 w 14997669"/>
              <a:gd name="connsiteY115" fmla="*/ 3346301 h 8979057"/>
              <a:gd name="connsiteX116" fmla="*/ 4123602 w 14997669"/>
              <a:gd name="connsiteY116" fmla="*/ 3957166 h 8979057"/>
              <a:gd name="connsiteX117" fmla="*/ 4119559 w 14997669"/>
              <a:gd name="connsiteY117" fmla="*/ 4547185 h 8979057"/>
              <a:gd name="connsiteX118" fmla="*/ 3643248 w 14997669"/>
              <a:gd name="connsiteY118" fmla="*/ 5309408 h 8979057"/>
              <a:gd name="connsiteX119" fmla="*/ 3643248 w 14997669"/>
              <a:gd name="connsiteY119" fmla="*/ 5556786 h 8979057"/>
              <a:gd name="connsiteX120" fmla="*/ 3603704 w 14997669"/>
              <a:gd name="connsiteY120" fmla="*/ 5622106 h 8979057"/>
              <a:gd name="connsiteX121" fmla="*/ 3511095 w 14997669"/>
              <a:gd name="connsiteY121" fmla="*/ 5501448 h 8979057"/>
              <a:gd name="connsiteX122" fmla="*/ 3511095 w 14997669"/>
              <a:gd name="connsiteY122" fmla="*/ 5168410 h 8979057"/>
              <a:gd name="connsiteX123" fmla="*/ 3176161 w 14997669"/>
              <a:gd name="connsiteY123" fmla="*/ 4608082 h 8979057"/>
              <a:gd name="connsiteX124" fmla="*/ 3176161 w 14997669"/>
              <a:gd name="connsiteY124" fmla="*/ 4281108 h 8979057"/>
              <a:gd name="connsiteX125" fmla="*/ 2989554 w 14997669"/>
              <a:gd name="connsiteY125" fmla="*/ 3960830 h 8979057"/>
              <a:gd name="connsiteX126" fmla="*/ 2989554 w 14997669"/>
              <a:gd name="connsiteY126" fmla="*/ 3424002 h 8979057"/>
              <a:gd name="connsiteX127" fmla="*/ 2668517 w 14997669"/>
              <a:gd name="connsiteY127" fmla="*/ 2839290 h 8979057"/>
              <a:gd name="connsiteX128" fmla="*/ 1388671 w 14997669"/>
              <a:gd name="connsiteY128" fmla="*/ 2839290 h 8979057"/>
              <a:gd name="connsiteX129" fmla="*/ 1251590 w 14997669"/>
              <a:gd name="connsiteY129" fmla="*/ 3018316 h 8979057"/>
              <a:gd name="connsiteX130" fmla="*/ 1089239 w 14997669"/>
              <a:gd name="connsiteY130" fmla="*/ 3018316 h 8979057"/>
              <a:gd name="connsiteX131" fmla="*/ 864224 w 14997669"/>
              <a:gd name="connsiteY131" fmla="*/ 2693869 h 8979057"/>
              <a:gd name="connsiteX132" fmla="*/ 854622 w 14997669"/>
              <a:gd name="connsiteY132" fmla="*/ 2236638 h 8979057"/>
              <a:gd name="connsiteX133" fmla="*/ 1276605 w 14997669"/>
              <a:gd name="connsiteY133" fmla="*/ 1488944 h 8979057"/>
              <a:gd name="connsiteX134" fmla="*/ 1757842 w 14997669"/>
              <a:gd name="connsiteY134" fmla="*/ 1488944 h 8979057"/>
              <a:gd name="connsiteX135" fmla="*/ 2026952 w 14997669"/>
              <a:gd name="connsiteY135" fmla="*/ 1948955 h 8979057"/>
              <a:gd name="connsiteX136" fmla="*/ 2781594 w 14997669"/>
              <a:gd name="connsiteY136" fmla="*/ 1948955 h 8979057"/>
              <a:gd name="connsiteX137" fmla="*/ 3026698 w 14997669"/>
              <a:gd name="connsiteY137" fmla="*/ 1501578 h 8979057"/>
              <a:gd name="connsiteX138" fmla="*/ 3941796 w 14997669"/>
              <a:gd name="connsiteY138" fmla="*/ 1501578 h 8979057"/>
              <a:gd name="connsiteX139" fmla="*/ 4351524 w 14997669"/>
              <a:gd name="connsiteY139" fmla="*/ 2067717 h 8979057"/>
              <a:gd name="connsiteX140" fmla="*/ 4350891 w 14997669"/>
              <a:gd name="connsiteY140" fmla="*/ 2487932 h 8979057"/>
              <a:gd name="connsiteX141" fmla="*/ 4653102 w 14997669"/>
              <a:gd name="connsiteY141" fmla="*/ 3007199 h 8979057"/>
              <a:gd name="connsiteX142" fmla="*/ 5432888 w 14997669"/>
              <a:gd name="connsiteY142" fmla="*/ 3007199 h 8979057"/>
              <a:gd name="connsiteX143" fmla="*/ 5065483 w 14997669"/>
              <a:gd name="connsiteY143" fmla="*/ 3649776 h 8979057"/>
              <a:gd name="connsiteX144" fmla="*/ 4771358 w 14997669"/>
              <a:gd name="connsiteY144" fmla="*/ 3646618 h 8979057"/>
              <a:gd name="connsiteX145" fmla="*/ 4474201 w 14997669"/>
              <a:gd name="connsiteY145" fmla="*/ 4115347 h 8979057"/>
              <a:gd name="connsiteX146" fmla="*/ 4474201 w 14997669"/>
              <a:gd name="connsiteY146" fmla="*/ 4653691 h 8979057"/>
              <a:gd name="connsiteX147" fmla="*/ 3962136 w 14997669"/>
              <a:gd name="connsiteY147" fmla="*/ 5456344 h 8979057"/>
              <a:gd name="connsiteX148" fmla="*/ 3962136 w 14997669"/>
              <a:gd name="connsiteY148" fmla="*/ 5746173 h 8979057"/>
              <a:gd name="connsiteX149" fmla="*/ 3780330 w 14997669"/>
              <a:gd name="connsiteY149" fmla="*/ 6048637 h 8979057"/>
              <a:gd name="connsiteX150" fmla="*/ 3430993 w 14997669"/>
              <a:gd name="connsiteY150" fmla="*/ 6046490 h 8979057"/>
              <a:gd name="connsiteX151" fmla="*/ 3135478 w 14997669"/>
              <a:gd name="connsiteY151" fmla="*/ 5698668 h 8979057"/>
              <a:gd name="connsiteX152" fmla="*/ 3135478 w 14997669"/>
              <a:gd name="connsiteY152" fmla="*/ 5258366 h 8979057"/>
              <a:gd name="connsiteX153" fmla="*/ 2822908 w 14997669"/>
              <a:gd name="connsiteY153" fmla="*/ 4689826 h 8979057"/>
              <a:gd name="connsiteX154" fmla="*/ 2823919 w 14997669"/>
              <a:gd name="connsiteY154" fmla="*/ 4345543 h 8979057"/>
              <a:gd name="connsiteX155" fmla="*/ 2637817 w 14997669"/>
              <a:gd name="connsiteY155" fmla="*/ 4021474 h 8979057"/>
              <a:gd name="connsiteX156" fmla="*/ 2637817 w 14997669"/>
              <a:gd name="connsiteY156" fmla="*/ 3498544 h 8979057"/>
              <a:gd name="connsiteX157" fmla="*/ 2496060 w 14997669"/>
              <a:gd name="connsiteY157" fmla="*/ 3244975 h 8979057"/>
              <a:gd name="connsiteX158" fmla="*/ 1511222 w 14997669"/>
              <a:gd name="connsiteY158" fmla="*/ 3244975 h 8979057"/>
              <a:gd name="connsiteX159" fmla="*/ 1428974 w 14997669"/>
              <a:gd name="connsiteY159" fmla="*/ 3387615 h 8979057"/>
              <a:gd name="connsiteX160" fmla="*/ 878879 w 14997669"/>
              <a:gd name="connsiteY160" fmla="*/ 3387615 h 8979057"/>
              <a:gd name="connsiteX161" fmla="*/ 510719 w 14997669"/>
              <a:gd name="connsiteY161" fmla="*/ 2815285 h 8979057"/>
              <a:gd name="connsiteX162" fmla="*/ 510719 w 14997669"/>
              <a:gd name="connsiteY162" fmla="*/ 2118254 h 8979057"/>
              <a:gd name="connsiteX163" fmla="*/ 1097958 w 14997669"/>
              <a:gd name="connsiteY163" fmla="*/ 1131901 h 8979057"/>
              <a:gd name="connsiteX164" fmla="*/ 1980710 w 14997669"/>
              <a:gd name="connsiteY164" fmla="*/ 1131901 h 8979057"/>
              <a:gd name="connsiteX165" fmla="*/ 2214570 w 14997669"/>
              <a:gd name="connsiteY165" fmla="*/ 1518003 h 8979057"/>
              <a:gd name="connsiteX166" fmla="*/ 2597134 w 14997669"/>
              <a:gd name="connsiteY166" fmla="*/ 1515476 h 8979057"/>
              <a:gd name="connsiteX167" fmla="*/ 2807999 w 14997669"/>
              <a:gd name="connsiteY167" fmla="*/ 1131901 h 8979057"/>
              <a:gd name="connsiteX168" fmla="*/ 9354804 w 14997669"/>
              <a:gd name="connsiteY168" fmla="*/ 1131901 h 8979057"/>
              <a:gd name="connsiteX169" fmla="*/ 9354804 w 14997669"/>
              <a:gd name="connsiteY169" fmla="*/ 917119 h 8979057"/>
              <a:gd name="connsiteX170" fmla="*/ 2680900 w 14997669"/>
              <a:gd name="connsiteY170" fmla="*/ 917119 h 8979057"/>
              <a:gd name="connsiteX171" fmla="*/ 2469907 w 14997669"/>
              <a:gd name="connsiteY171" fmla="*/ 1301452 h 8979057"/>
              <a:gd name="connsiteX172" fmla="*/ 2335353 w 14997669"/>
              <a:gd name="connsiteY172" fmla="*/ 1302336 h 8979057"/>
              <a:gd name="connsiteX173" fmla="*/ 2101747 w 14997669"/>
              <a:gd name="connsiteY173" fmla="*/ 917119 h 8979057"/>
              <a:gd name="connsiteX174" fmla="*/ 975910 w 14997669"/>
              <a:gd name="connsiteY174" fmla="*/ 917119 h 8979057"/>
              <a:gd name="connsiteX175" fmla="*/ 0 w 14997669"/>
              <a:gd name="connsiteY175" fmla="*/ 524645 h 8979057"/>
              <a:gd name="connsiteX176" fmla="*/ 11066971 w 14997669"/>
              <a:gd name="connsiteY176" fmla="*/ 0 h 8979057"/>
              <a:gd name="connsiteX177" fmla="*/ 11836545 w 14997669"/>
              <a:gd name="connsiteY177" fmla="*/ 0 h 8979057"/>
              <a:gd name="connsiteX178" fmla="*/ 14997669 w 14997669"/>
              <a:gd name="connsiteY178" fmla="*/ 552751 h 8979057"/>
              <a:gd name="connsiteX179" fmla="*/ 11849796 w 14997669"/>
              <a:gd name="connsiteY179" fmla="*/ 6880472 h 8979057"/>
              <a:gd name="connsiteX180" fmla="*/ 11836545 w 14997669"/>
              <a:gd name="connsiteY180" fmla="*/ 6880472 h 8979057"/>
              <a:gd name="connsiteX181" fmla="*/ 14993786 w 14997669"/>
              <a:gd name="connsiteY181" fmla="*/ 8969688 h 8979057"/>
              <a:gd name="connsiteX182" fmla="*/ 28106 w 14997669"/>
              <a:gd name="connsiteY182" fmla="*/ 8979057 h 8979057"/>
              <a:gd name="connsiteX183" fmla="*/ 0 w 14997669"/>
              <a:gd name="connsiteY183" fmla="*/ 524645 h 8979057"/>
              <a:gd name="connsiteX0" fmla="*/ 975910 w 14997669"/>
              <a:gd name="connsiteY0" fmla="*/ 917119 h 8979057"/>
              <a:gd name="connsiteX1" fmla="*/ 295937 w 14997669"/>
              <a:gd name="connsiteY1" fmla="*/ 2059126 h 8979057"/>
              <a:gd name="connsiteX2" fmla="*/ 295937 w 14997669"/>
              <a:gd name="connsiteY2" fmla="*/ 2878457 h 8979057"/>
              <a:gd name="connsiteX3" fmla="*/ 761887 w 14997669"/>
              <a:gd name="connsiteY3" fmla="*/ 3602271 h 8979057"/>
              <a:gd name="connsiteX4" fmla="*/ 1553042 w 14997669"/>
              <a:gd name="connsiteY4" fmla="*/ 3602271 h 8979057"/>
              <a:gd name="connsiteX5" fmla="*/ 1635417 w 14997669"/>
              <a:gd name="connsiteY5" fmla="*/ 3459631 h 8979057"/>
              <a:gd name="connsiteX6" fmla="*/ 2369844 w 14997669"/>
              <a:gd name="connsiteY6" fmla="*/ 3459631 h 8979057"/>
              <a:gd name="connsiteX7" fmla="*/ 2422782 w 14997669"/>
              <a:gd name="connsiteY7" fmla="*/ 3554387 h 8979057"/>
              <a:gd name="connsiteX8" fmla="*/ 2422782 w 14997669"/>
              <a:gd name="connsiteY8" fmla="*/ 4078708 h 8979057"/>
              <a:gd name="connsiteX9" fmla="*/ 2608758 w 14997669"/>
              <a:gd name="connsiteY9" fmla="*/ 4402397 h 8979057"/>
              <a:gd name="connsiteX10" fmla="*/ 2607747 w 14997669"/>
              <a:gd name="connsiteY10" fmla="*/ 4744531 h 8979057"/>
              <a:gd name="connsiteX11" fmla="*/ 2920445 w 14997669"/>
              <a:gd name="connsiteY11" fmla="*/ 5313072 h 8979057"/>
              <a:gd name="connsiteX12" fmla="*/ 2920445 w 14997669"/>
              <a:gd name="connsiteY12" fmla="*/ 5777000 h 8979057"/>
              <a:gd name="connsiteX13" fmla="*/ 3331310 w 14997669"/>
              <a:gd name="connsiteY13" fmla="*/ 6260639 h 8979057"/>
              <a:gd name="connsiteX14" fmla="*/ 3901618 w 14997669"/>
              <a:gd name="connsiteY14" fmla="*/ 6264176 h 8979057"/>
              <a:gd name="connsiteX15" fmla="*/ 4177171 w 14997669"/>
              <a:gd name="connsiteY15" fmla="*/ 5805807 h 8979057"/>
              <a:gd name="connsiteX16" fmla="*/ 4177171 w 14997669"/>
              <a:gd name="connsiteY16" fmla="*/ 5519010 h 8979057"/>
              <a:gd name="connsiteX17" fmla="*/ 4689236 w 14997669"/>
              <a:gd name="connsiteY17" fmla="*/ 4716736 h 8979057"/>
              <a:gd name="connsiteX18" fmla="*/ 4689236 w 14997669"/>
              <a:gd name="connsiteY18" fmla="*/ 4178518 h 8979057"/>
              <a:gd name="connsiteX19" fmla="*/ 4888983 w 14997669"/>
              <a:gd name="connsiteY19" fmla="*/ 3862662 h 8979057"/>
              <a:gd name="connsiteX20" fmla="*/ 5190309 w 14997669"/>
              <a:gd name="connsiteY20" fmla="*/ 3866200 h 8979057"/>
              <a:gd name="connsiteX21" fmla="*/ 5804081 w 14997669"/>
              <a:gd name="connsiteY21" fmla="*/ 2792291 h 8979057"/>
              <a:gd name="connsiteX22" fmla="*/ 4777423 w 14997669"/>
              <a:gd name="connsiteY22" fmla="*/ 2792291 h 8979057"/>
              <a:gd name="connsiteX23" fmla="*/ 4566558 w 14997669"/>
              <a:gd name="connsiteY23" fmla="*/ 2429941 h 8979057"/>
              <a:gd name="connsiteX24" fmla="*/ 4566558 w 14997669"/>
              <a:gd name="connsiteY24" fmla="*/ 1998230 h 8979057"/>
              <a:gd name="connsiteX25" fmla="*/ 4051840 w 14997669"/>
              <a:gd name="connsiteY25" fmla="*/ 1286670 h 8979057"/>
              <a:gd name="connsiteX26" fmla="*/ 2899598 w 14997669"/>
              <a:gd name="connsiteY26" fmla="*/ 1286670 h 8979057"/>
              <a:gd name="connsiteX27" fmla="*/ 2654494 w 14997669"/>
              <a:gd name="connsiteY27" fmla="*/ 1734048 h 8979057"/>
              <a:gd name="connsiteX28" fmla="*/ 2150388 w 14997669"/>
              <a:gd name="connsiteY28" fmla="*/ 1734048 h 8979057"/>
              <a:gd name="connsiteX29" fmla="*/ 1881280 w 14997669"/>
              <a:gd name="connsiteY29" fmla="*/ 1274036 h 8979057"/>
              <a:gd name="connsiteX30" fmla="*/ 1151527 w 14997669"/>
              <a:gd name="connsiteY30" fmla="*/ 1274036 h 8979057"/>
              <a:gd name="connsiteX31" fmla="*/ 638829 w 14997669"/>
              <a:gd name="connsiteY31" fmla="*/ 2182310 h 8979057"/>
              <a:gd name="connsiteX32" fmla="*/ 651463 w 14997669"/>
              <a:gd name="connsiteY32" fmla="*/ 2763485 h 8979057"/>
              <a:gd name="connsiteX33" fmla="*/ 976795 w 14997669"/>
              <a:gd name="connsiteY33" fmla="*/ 3233478 h 8979057"/>
              <a:gd name="connsiteX34" fmla="*/ 1357590 w 14997669"/>
              <a:gd name="connsiteY34" fmla="*/ 3233478 h 8979057"/>
              <a:gd name="connsiteX35" fmla="*/ 1494798 w 14997669"/>
              <a:gd name="connsiteY35" fmla="*/ 3054072 h 8979057"/>
              <a:gd name="connsiteX36" fmla="*/ 2541418 w 14997669"/>
              <a:gd name="connsiteY36" fmla="*/ 3054072 h 8979057"/>
              <a:gd name="connsiteX37" fmla="*/ 2775150 w 14997669"/>
              <a:gd name="connsiteY37" fmla="*/ 3479213 h 8979057"/>
              <a:gd name="connsiteX38" fmla="*/ 2775150 w 14997669"/>
              <a:gd name="connsiteY38" fmla="*/ 4018947 h 8979057"/>
              <a:gd name="connsiteX39" fmla="*/ 2961759 w 14997669"/>
              <a:gd name="connsiteY39" fmla="*/ 4339225 h 8979057"/>
              <a:gd name="connsiteX40" fmla="*/ 2961759 w 14997669"/>
              <a:gd name="connsiteY40" fmla="*/ 4666958 h 8979057"/>
              <a:gd name="connsiteX41" fmla="*/ 3296691 w 14997669"/>
              <a:gd name="connsiteY41" fmla="*/ 5227159 h 8979057"/>
              <a:gd name="connsiteX42" fmla="*/ 3296691 w 14997669"/>
              <a:gd name="connsiteY42" fmla="*/ 5573716 h 8979057"/>
              <a:gd name="connsiteX43" fmla="*/ 3519433 w 14997669"/>
              <a:gd name="connsiteY43" fmla="*/ 5864303 h 8979057"/>
              <a:gd name="connsiteX44" fmla="*/ 3707936 w 14997669"/>
              <a:gd name="connsiteY44" fmla="*/ 5864303 h 8979057"/>
              <a:gd name="connsiteX45" fmla="*/ 3858031 w 14997669"/>
              <a:gd name="connsiteY45" fmla="*/ 5616293 h 8979057"/>
              <a:gd name="connsiteX46" fmla="*/ 3858031 w 14997669"/>
              <a:gd name="connsiteY46" fmla="*/ 5371063 h 8979057"/>
              <a:gd name="connsiteX47" fmla="*/ 4333962 w 14997669"/>
              <a:gd name="connsiteY47" fmla="*/ 4609724 h 8979057"/>
              <a:gd name="connsiteX48" fmla="*/ 4338005 w 14997669"/>
              <a:gd name="connsiteY48" fmla="*/ 4017179 h 8979057"/>
              <a:gd name="connsiteX49" fmla="*/ 4609640 w 14997669"/>
              <a:gd name="connsiteY49" fmla="*/ 3560957 h 8979057"/>
              <a:gd name="connsiteX50" fmla="*/ 4993215 w 14997669"/>
              <a:gd name="connsiteY50" fmla="*/ 3559441 h 8979057"/>
              <a:gd name="connsiteX51" fmla="*/ 5266368 w 14997669"/>
              <a:gd name="connsiteY51" fmla="*/ 3098544 h 8979057"/>
              <a:gd name="connsiteX52" fmla="*/ 4580708 w 14997669"/>
              <a:gd name="connsiteY52" fmla="*/ 3096017 h 8979057"/>
              <a:gd name="connsiteX53" fmla="*/ 4221770 w 14997669"/>
              <a:gd name="connsiteY53" fmla="*/ 2507768 h 8979057"/>
              <a:gd name="connsiteX54" fmla="*/ 4236046 w 14997669"/>
              <a:gd name="connsiteY54" fmla="*/ 2127225 h 8979057"/>
              <a:gd name="connsiteX55" fmla="*/ 3906293 w 14997669"/>
              <a:gd name="connsiteY55" fmla="*/ 1643207 h 8979057"/>
              <a:gd name="connsiteX56" fmla="*/ 3097703 w 14997669"/>
              <a:gd name="connsiteY56" fmla="*/ 1638786 h 8979057"/>
              <a:gd name="connsiteX57" fmla="*/ 2847797 w 14997669"/>
              <a:gd name="connsiteY57" fmla="*/ 2076941 h 8979057"/>
              <a:gd name="connsiteX58" fmla="*/ 1932069 w 14997669"/>
              <a:gd name="connsiteY58" fmla="*/ 2076941 h 8979057"/>
              <a:gd name="connsiteX59" fmla="*/ 1706927 w 14997669"/>
              <a:gd name="connsiteY59" fmla="*/ 1657105 h 8979057"/>
              <a:gd name="connsiteX60" fmla="*/ 1368961 w 14997669"/>
              <a:gd name="connsiteY60" fmla="*/ 1657105 h 8979057"/>
              <a:gd name="connsiteX61" fmla="*/ 1018740 w 14997669"/>
              <a:gd name="connsiteY61" fmla="*/ 2321286 h 8979057"/>
              <a:gd name="connsiteX62" fmla="*/ 1025690 w 14997669"/>
              <a:gd name="connsiteY62" fmla="*/ 2653694 h 8979057"/>
              <a:gd name="connsiteX63" fmla="*/ 1095177 w 14997669"/>
              <a:gd name="connsiteY63" fmla="*/ 2745670 h 8979057"/>
              <a:gd name="connsiteX64" fmla="*/ 1206484 w 14997669"/>
              <a:gd name="connsiteY64" fmla="*/ 2743775 h 8979057"/>
              <a:gd name="connsiteX65" fmla="*/ 1302758 w 14997669"/>
              <a:gd name="connsiteY65" fmla="*/ 2662411 h 8979057"/>
              <a:gd name="connsiteX66" fmla="*/ 3350640 w 14997669"/>
              <a:gd name="connsiteY66" fmla="*/ 2663801 h 8979057"/>
              <a:gd name="connsiteX67" fmla="*/ 3551397 w 14997669"/>
              <a:gd name="connsiteY67" fmla="*/ 2270370 h 8979057"/>
              <a:gd name="connsiteX68" fmla="*/ 3584500 w 14997669"/>
              <a:gd name="connsiteY68" fmla="*/ 2270370 h 8979057"/>
              <a:gd name="connsiteX69" fmla="*/ 3647671 w 14997669"/>
              <a:gd name="connsiteY69" fmla="*/ 2353504 h 8979057"/>
              <a:gd name="connsiteX70" fmla="*/ 3647671 w 14997669"/>
              <a:gd name="connsiteY70" fmla="*/ 2771317 h 8979057"/>
              <a:gd name="connsiteX71" fmla="*/ 4031246 w 14997669"/>
              <a:gd name="connsiteY71" fmla="*/ 3414653 h 8979057"/>
              <a:gd name="connsiteX72" fmla="*/ 3752662 w 14997669"/>
              <a:gd name="connsiteY72" fmla="*/ 3832466 h 8979057"/>
              <a:gd name="connsiteX73" fmla="*/ 3744954 w 14997669"/>
              <a:gd name="connsiteY73" fmla="*/ 4456471 h 8979057"/>
              <a:gd name="connsiteX74" fmla="*/ 3622656 w 14997669"/>
              <a:gd name="connsiteY74" fmla="*/ 4641815 h 8979057"/>
              <a:gd name="connsiteX75" fmla="*/ 3511979 w 14997669"/>
              <a:gd name="connsiteY75" fmla="*/ 4455966 h 8979057"/>
              <a:gd name="connsiteX76" fmla="*/ 3511979 w 14997669"/>
              <a:gd name="connsiteY76" fmla="*/ 4076939 h 8979057"/>
              <a:gd name="connsiteX77" fmla="*/ 3374140 w 14997669"/>
              <a:gd name="connsiteY77" fmla="*/ 3851165 h 8979057"/>
              <a:gd name="connsiteX78" fmla="*/ 3374140 w 14997669"/>
              <a:gd name="connsiteY78" fmla="*/ 3321665 h 8979057"/>
              <a:gd name="connsiteX79" fmla="*/ 3209895 w 14997669"/>
              <a:gd name="connsiteY79" fmla="*/ 3043712 h 8979057"/>
              <a:gd name="connsiteX80" fmla="*/ 3381846 w 14997669"/>
              <a:gd name="connsiteY80" fmla="*/ 3043712 h 8979057"/>
              <a:gd name="connsiteX81" fmla="*/ 3599535 w 14997669"/>
              <a:gd name="connsiteY81" fmla="*/ 3385973 h 8979057"/>
              <a:gd name="connsiteX82" fmla="*/ 3432635 w 14997669"/>
              <a:gd name="connsiteY82" fmla="*/ 3638658 h 8979057"/>
              <a:gd name="connsiteX83" fmla="*/ 3432635 w 14997669"/>
              <a:gd name="connsiteY83" fmla="*/ 3763104 h 8979057"/>
              <a:gd name="connsiteX84" fmla="*/ 3647417 w 14997669"/>
              <a:gd name="connsiteY84" fmla="*/ 3763104 h 8979057"/>
              <a:gd name="connsiteX85" fmla="*/ 3647417 w 14997669"/>
              <a:gd name="connsiteY85" fmla="*/ 3703345 h 8979057"/>
              <a:gd name="connsiteX86" fmla="*/ 3855503 w 14997669"/>
              <a:gd name="connsiteY86" fmla="*/ 3389005 h 8979057"/>
              <a:gd name="connsiteX87" fmla="*/ 3499724 w 14997669"/>
              <a:gd name="connsiteY87" fmla="*/ 2829562 h 8979057"/>
              <a:gd name="connsiteX88" fmla="*/ 2833395 w 14997669"/>
              <a:gd name="connsiteY88" fmla="*/ 2829562 h 8979057"/>
              <a:gd name="connsiteX89" fmla="*/ 3158727 w 14997669"/>
              <a:gd name="connsiteY89" fmla="*/ 3380540 h 8979057"/>
              <a:gd name="connsiteX90" fmla="*/ 3158727 w 14997669"/>
              <a:gd name="connsiteY90" fmla="*/ 3911178 h 8979057"/>
              <a:gd name="connsiteX91" fmla="*/ 3296565 w 14997669"/>
              <a:gd name="connsiteY91" fmla="*/ 4136952 h 8979057"/>
              <a:gd name="connsiteX92" fmla="*/ 3296565 w 14997669"/>
              <a:gd name="connsiteY92" fmla="*/ 4514083 h 8979057"/>
              <a:gd name="connsiteX93" fmla="*/ 3612421 w 14997669"/>
              <a:gd name="connsiteY93" fmla="*/ 5043836 h 8979057"/>
              <a:gd name="connsiteX94" fmla="*/ 3958978 w 14997669"/>
              <a:gd name="connsiteY94" fmla="*/ 4522043 h 8979057"/>
              <a:gd name="connsiteX95" fmla="*/ 3966558 w 14997669"/>
              <a:gd name="connsiteY95" fmla="*/ 3898291 h 8979057"/>
              <a:gd name="connsiteX96" fmla="*/ 4285067 w 14997669"/>
              <a:gd name="connsiteY96" fmla="*/ 3420464 h 8979057"/>
              <a:gd name="connsiteX97" fmla="*/ 3862452 w 14997669"/>
              <a:gd name="connsiteY97" fmla="*/ 2712442 h 8979057"/>
              <a:gd name="connsiteX98" fmla="*/ 3862452 w 14997669"/>
              <a:gd name="connsiteY98" fmla="*/ 2281616 h 8979057"/>
              <a:gd name="connsiteX99" fmla="*/ 3691258 w 14997669"/>
              <a:gd name="connsiteY99" fmla="*/ 2055968 h 8979057"/>
              <a:gd name="connsiteX100" fmla="*/ 3420001 w 14997669"/>
              <a:gd name="connsiteY100" fmla="*/ 2055968 h 8979057"/>
              <a:gd name="connsiteX101" fmla="*/ 3219749 w 14997669"/>
              <a:gd name="connsiteY101" fmla="*/ 2448766 h 8979057"/>
              <a:gd name="connsiteX102" fmla="*/ 1236175 w 14997669"/>
              <a:gd name="connsiteY102" fmla="*/ 2447629 h 8979057"/>
              <a:gd name="connsiteX103" fmla="*/ 1234659 w 14997669"/>
              <a:gd name="connsiteY103" fmla="*/ 2371823 h 8979057"/>
              <a:gd name="connsiteX104" fmla="*/ 1497957 w 14997669"/>
              <a:gd name="connsiteY104" fmla="*/ 1871382 h 8979057"/>
              <a:gd name="connsiteX105" fmla="*/ 1578310 w 14997669"/>
              <a:gd name="connsiteY105" fmla="*/ 1871382 h 8979057"/>
              <a:gd name="connsiteX106" fmla="*/ 1803579 w 14997669"/>
              <a:gd name="connsiteY106" fmla="*/ 2291216 h 8979057"/>
              <a:gd name="connsiteX107" fmla="*/ 2972624 w 14997669"/>
              <a:gd name="connsiteY107" fmla="*/ 2291216 h 8979057"/>
              <a:gd name="connsiteX108" fmla="*/ 3222024 w 14997669"/>
              <a:gd name="connsiteY108" fmla="*/ 1853820 h 8979057"/>
              <a:gd name="connsiteX109" fmla="*/ 3792712 w 14997669"/>
              <a:gd name="connsiteY109" fmla="*/ 1856852 h 8979057"/>
              <a:gd name="connsiteX110" fmla="*/ 4019117 w 14997669"/>
              <a:gd name="connsiteY110" fmla="*/ 2189259 h 8979057"/>
              <a:gd name="connsiteX111" fmla="*/ 4005092 w 14997669"/>
              <a:gd name="connsiteY111" fmla="*/ 2563864 h 8979057"/>
              <a:gd name="connsiteX112" fmla="*/ 4459925 w 14997669"/>
              <a:gd name="connsiteY112" fmla="*/ 3310294 h 8979057"/>
              <a:gd name="connsiteX113" fmla="*/ 4890120 w 14997669"/>
              <a:gd name="connsiteY113" fmla="*/ 3311936 h 8979057"/>
              <a:gd name="connsiteX114" fmla="*/ 4870538 w 14997669"/>
              <a:gd name="connsiteY114" fmla="*/ 3344912 h 8979057"/>
              <a:gd name="connsiteX115" fmla="*/ 4487341 w 14997669"/>
              <a:gd name="connsiteY115" fmla="*/ 3346301 h 8979057"/>
              <a:gd name="connsiteX116" fmla="*/ 4123602 w 14997669"/>
              <a:gd name="connsiteY116" fmla="*/ 3957166 h 8979057"/>
              <a:gd name="connsiteX117" fmla="*/ 4119559 w 14997669"/>
              <a:gd name="connsiteY117" fmla="*/ 4547185 h 8979057"/>
              <a:gd name="connsiteX118" fmla="*/ 3643248 w 14997669"/>
              <a:gd name="connsiteY118" fmla="*/ 5309408 h 8979057"/>
              <a:gd name="connsiteX119" fmla="*/ 3643248 w 14997669"/>
              <a:gd name="connsiteY119" fmla="*/ 5556786 h 8979057"/>
              <a:gd name="connsiteX120" fmla="*/ 3603704 w 14997669"/>
              <a:gd name="connsiteY120" fmla="*/ 5622106 h 8979057"/>
              <a:gd name="connsiteX121" fmla="*/ 3511095 w 14997669"/>
              <a:gd name="connsiteY121" fmla="*/ 5501448 h 8979057"/>
              <a:gd name="connsiteX122" fmla="*/ 3511095 w 14997669"/>
              <a:gd name="connsiteY122" fmla="*/ 5168410 h 8979057"/>
              <a:gd name="connsiteX123" fmla="*/ 3176161 w 14997669"/>
              <a:gd name="connsiteY123" fmla="*/ 4608082 h 8979057"/>
              <a:gd name="connsiteX124" fmla="*/ 3176161 w 14997669"/>
              <a:gd name="connsiteY124" fmla="*/ 4281108 h 8979057"/>
              <a:gd name="connsiteX125" fmla="*/ 2989554 w 14997669"/>
              <a:gd name="connsiteY125" fmla="*/ 3960830 h 8979057"/>
              <a:gd name="connsiteX126" fmla="*/ 2989554 w 14997669"/>
              <a:gd name="connsiteY126" fmla="*/ 3424002 h 8979057"/>
              <a:gd name="connsiteX127" fmla="*/ 2668517 w 14997669"/>
              <a:gd name="connsiteY127" fmla="*/ 2839290 h 8979057"/>
              <a:gd name="connsiteX128" fmla="*/ 1388671 w 14997669"/>
              <a:gd name="connsiteY128" fmla="*/ 2839290 h 8979057"/>
              <a:gd name="connsiteX129" fmla="*/ 1251590 w 14997669"/>
              <a:gd name="connsiteY129" fmla="*/ 3018316 h 8979057"/>
              <a:gd name="connsiteX130" fmla="*/ 1089239 w 14997669"/>
              <a:gd name="connsiteY130" fmla="*/ 3018316 h 8979057"/>
              <a:gd name="connsiteX131" fmla="*/ 864224 w 14997669"/>
              <a:gd name="connsiteY131" fmla="*/ 2693869 h 8979057"/>
              <a:gd name="connsiteX132" fmla="*/ 854622 w 14997669"/>
              <a:gd name="connsiteY132" fmla="*/ 2236638 h 8979057"/>
              <a:gd name="connsiteX133" fmla="*/ 1276605 w 14997669"/>
              <a:gd name="connsiteY133" fmla="*/ 1488944 h 8979057"/>
              <a:gd name="connsiteX134" fmla="*/ 1757842 w 14997669"/>
              <a:gd name="connsiteY134" fmla="*/ 1488944 h 8979057"/>
              <a:gd name="connsiteX135" fmla="*/ 2026952 w 14997669"/>
              <a:gd name="connsiteY135" fmla="*/ 1948955 h 8979057"/>
              <a:gd name="connsiteX136" fmla="*/ 2781594 w 14997669"/>
              <a:gd name="connsiteY136" fmla="*/ 1948955 h 8979057"/>
              <a:gd name="connsiteX137" fmla="*/ 3026698 w 14997669"/>
              <a:gd name="connsiteY137" fmla="*/ 1501578 h 8979057"/>
              <a:gd name="connsiteX138" fmla="*/ 3941796 w 14997669"/>
              <a:gd name="connsiteY138" fmla="*/ 1501578 h 8979057"/>
              <a:gd name="connsiteX139" fmla="*/ 4351524 w 14997669"/>
              <a:gd name="connsiteY139" fmla="*/ 2067717 h 8979057"/>
              <a:gd name="connsiteX140" fmla="*/ 4350891 w 14997669"/>
              <a:gd name="connsiteY140" fmla="*/ 2487932 h 8979057"/>
              <a:gd name="connsiteX141" fmla="*/ 4653102 w 14997669"/>
              <a:gd name="connsiteY141" fmla="*/ 3007199 h 8979057"/>
              <a:gd name="connsiteX142" fmla="*/ 5432888 w 14997669"/>
              <a:gd name="connsiteY142" fmla="*/ 3007199 h 8979057"/>
              <a:gd name="connsiteX143" fmla="*/ 5065483 w 14997669"/>
              <a:gd name="connsiteY143" fmla="*/ 3649776 h 8979057"/>
              <a:gd name="connsiteX144" fmla="*/ 4771358 w 14997669"/>
              <a:gd name="connsiteY144" fmla="*/ 3646618 h 8979057"/>
              <a:gd name="connsiteX145" fmla="*/ 4474201 w 14997669"/>
              <a:gd name="connsiteY145" fmla="*/ 4115347 h 8979057"/>
              <a:gd name="connsiteX146" fmla="*/ 4474201 w 14997669"/>
              <a:gd name="connsiteY146" fmla="*/ 4653691 h 8979057"/>
              <a:gd name="connsiteX147" fmla="*/ 3962136 w 14997669"/>
              <a:gd name="connsiteY147" fmla="*/ 5456344 h 8979057"/>
              <a:gd name="connsiteX148" fmla="*/ 3962136 w 14997669"/>
              <a:gd name="connsiteY148" fmla="*/ 5746173 h 8979057"/>
              <a:gd name="connsiteX149" fmla="*/ 3780330 w 14997669"/>
              <a:gd name="connsiteY149" fmla="*/ 6048637 h 8979057"/>
              <a:gd name="connsiteX150" fmla="*/ 3430993 w 14997669"/>
              <a:gd name="connsiteY150" fmla="*/ 6046490 h 8979057"/>
              <a:gd name="connsiteX151" fmla="*/ 3135478 w 14997669"/>
              <a:gd name="connsiteY151" fmla="*/ 5698668 h 8979057"/>
              <a:gd name="connsiteX152" fmla="*/ 3135478 w 14997669"/>
              <a:gd name="connsiteY152" fmla="*/ 5258366 h 8979057"/>
              <a:gd name="connsiteX153" fmla="*/ 2822908 w 14997669"/>
              <a:gd name="connsiteY153" fmla="*/ 4689826 h 8979057"/>
              <a:gd name="connsiteX154" fmla="*/ 2823919 w 14997669"/>
              <a:gd name="connsiteY154" fmla="*/ 4345543 h 8979057"/>
              <a:gd name="connsiteX155" fmla="*/ 2637817 w 14997669"/>
              <a:gd name="connsiteY155" fmla="*/ 4021474 h 8979057"/>
              <a:gd name="connsiteX156" fmla="*/ 2637817 w 14997669"/>
              <a:gd name="connsiteY156" fmla="*/ 3498544 h 8979057"/>
              <a:gd name="connsiteX157" fmla="*/ 2496060 w 14997669"/>
              <a:gd name="connsiteY157" fmla="*/ 3244975 h 8979057"/>
              <a:gd name="connsiteX158" fmla="*/ 1511222 w 14997669"/>
              <a:gd name="connsiteY158" fmla="*/ 3244975 h 8979057"/>
              <a:gd name="connsiteX159" fmla="*/ 1428974 w 14997669"/>
              <a:gd name="connsiteY159" fmla="*/ 3387615 h 8979057"/>
              <a:gd name="connsiteX160" fmla="*/ 878879 w 14997669"/>
              <a:gd name="connsiteY160" fmla="*/ 3387615 h 8979057"/>
              <a:gd name="connsiteX161" fmla="*/ 510719 w 14997669"/>
              <a:gd name="connsiteY161" fmla="*/ 2815285 h 8979057"/>
              <a:gd name="connsiteX162" fmla="*/ 510719 w 14997669"/>
              <a:gd name="connsiteY162" fmla="*/ 2118254 h 8979057"/>
              <a:gd name="connsiteX163" fmla="*/ 1097958 w 14997669"/>
              <a:gd name="connsiteY163" fmla="*/ 1131901 h 8979057"/>
              <a:gd name="connsiteX164" fmla="*/ 1980710 w 14997669"/>
              <a:gd name="connsiteY164" fmla="*/ 1131901 h 8979057"/>
              <a:gd name="connsiteX165" fmla="*/ 2214570 w 14997669"/>
              <a:gd name="connsiteY165" fmla="*/ 1518003 h 8979057"/>
              <a:gd name="connsiteX166" fmla="*/ 2597134 w 14997669"/>
              <a:gd name="connsiteY166" fmla="*/ 1515476 h 8979057"/>
              <a:gd name="connsiteX167" fmla="*/ 2807999 w 14997669"/>
              <a:gd name="connsiteY167" fmla="*/ 1131901 h 8979057"/>
              <a:gd name="connsiteX168" fmla="*/ 9354804 w 14997669"/>
              <a:gd name="connsiteY168" fmla="*/ 1131901 h 8979057"/>
              <a:gd name="connsiteX169" fmla="*/ 9354804 w 14997669"/>
              <a:gd name="connsiteY169" fmla="*/ 917119 h 8979057"/>
              <a:gd name="connsiteX170" fmla="*/ 2680900 w 14997669"/>
              <a:gd name="connsiteY170" fmla="*/ 917119 h 8979057"/>
              <a:gd name="connsiteX171" fmla="*/ 2469907 w 14997669"/>
              <a:gd name="connsiteY171" fmla="*/ 1301452 h 8979057"/>
              <a:gd name="connsiteX172" fmla="*/ 2335353 w 14997669"/>
              <a:gd name="connsiteY172" fmla="*/ 1302336 h 8979057"/>
              <a:gd name="connsiteX173" fmla="*/ 2101747 w 14997669"/>
              <a:gd name="connsiteY173" fmla="*/ 917119 h 8979057"/>
              <a:gd name="connsiteX174" fmla="*/ 975910 w 14997669"/>
              <a:gd name="connsiteY174" fmla="*/ 917119 h 8979057"/>
              <a:gd name="connsiteX175" fmla="*/ 0 w 14997669"/>
              <a:gd name="connsiteY175" fmla="*/ 524645 h 8979057"/>
              <a:gd name="connsiteX176" fmla="*/ 11066971 w 14997669"/>
              <a:gd name="connsiteY176" fmla="*/ 0 h 8979057"/>
              <a:gd name="connsiteX177" fmla="*/ 14997669 w 14997669"/>
              <a:gd name="connsiteY177" fmla="*/ 552751 h 8979057"/>
              <a:gd name="connsiteX178" fmla="*/ 11849796 w 14997669"/>
              <a:gd name="connsiteY178" fmla="*/ 6880472 h 8979057"/>
              <a:gd name="connsiteX179" fmla="*/ 11836545 w 14997669"/>
              <a:gd name="connsiteY179" fmla="*/ 6880472 h 8979057"/>
              <a:gd name="connsiteX180" fmla="*/ 14993786 w 14997669"/>
              <a:gd name="connsiteY180" fmla="*/ 8969688 h 8979057"/>
              <a:gd name="connsiteX181" fmla="*/ 28106 w 14997669"/>
              <a:gd name="connsiteY181" fmla="*/ 8979057 h 8979057"/>
              <a:gd name="connsiteX182" fmla="*/ 0 w 14997669"/>
              <a:gd name="connsiteY182" fmla="*/ 524645 h 8979057"/>
              <a:gd name="connsiteX0" fmla="*/ 975910 w 14997669"/>
              <a:gd name="connsiteY0" fmla="*/ 392474 h 8454412"/>
              <a:gd name="connsiteX1" fmla="*/ 295937 w 14997669"/>
              <a:gd name="connsiteY1" fmla="*/ 1534481 h 8454412"/>
              <a:gd name="connsiteX2" fmla="*/ 295937 w 14997669"/>
              <a:gd name="connsiteY2" fmla="*/ 2353812 h 8454412"/>
              <a:gd name="connsiteX3" fmla="*/ 761887 w 14997669"/>
              <a:gd name="connsiteY3" fmla="*/ 3077626 h 8454412"/>
              <a:gd name="connsiteX4" fmla="*/ 1553042 w 14997669"/>
              <a:gd name="connsiteY4" fmla="*/ 3077626 h 8454412"/>
              <a:gd name="connsiteX5" fmla="*/ 1635417 w 14997669"/>
              <a:gd name="connsiteY5" fmla="*/ 2934986 h 8454412"/>
              <a:gd name="connsiteX6" fmla="*/ 2369844 w 14997669"/>
              <a:gd name="connsiteY6" fmla="*/ 2934986 h 8454412"/>
              <a:gd name="connsiteX7" fmla="*/ 2422782 w 14997669"/>
              <a:gd name="connsiteY7" fmla="*/ 3029742 h 8454412"/>
              <a:gd name="connsiteX8" fmla="*/ 2422782 w 14997669"/>
              <a:gd name="connsiteY8" fmla="*/ 3554063 h 8454412"/>
              <a:gd name="connsiteX9" fmla="*/ 2608758 w 14997669"/>
              <a:gd name="connsiteY9" fmla="*/ 3877752 h 8454412"/>
              <a:gd name="connsiteX10" fmla="*/ 2607747 w 14997669"/>
              <a:gd name="connsiteY10" fmla="*/ 4219886 h 8454412"/>
              <a:gd name="connsiteX11" fmla="*/ 2920445 w 14997669"/>
              <a:gd name="connsiteY11" fmla="*/ 4788427 h 8454412"/>
              <a:gd name="connsiteX12" fmla="*/ 2920445 w 14997669"/>
              <a:gd name="connsiteY12" fmla="*/ 5252355 h 8454412"/>
              <a:gd name="connsiteX13" fmla="*/ 3331310 w 14997669"/>
              <a:gd name="connsiteY13" fmla="*/ 5735994 h 8454412"/>
              <a:gd name="connsiteX14" fmla="*/ 3901618 w 14997669"/>
              <a:gd name="connsiteY14" fmla="*/ 5739531 h 8454412"/>
              <a:gd name="connsiteX15" fmla="*/ 4177171 w 14997669"/>
              <a:gd name="connsiteY15" fmla="*/ 5281162 h 8454412"/>
              <a:gd name="connsiteX16" fmla="*/ 4177171 w 14997669"/>
              <a:gd name="connsiteY16" fmla="*/ 4994365 h 8454412"/>
              <a:gd name="connsiteX17" fmla="*/ 4689236 w 14997669"/>
              <a:gd name="connsiteY17" fmla="*/ 4192091 h 8454412"/>
              <a:gd name="connsiteX18" fmla="*/ 4689236 w 14997669"/>
              <a:gd name="connsiteY18" fmla="*/ 3653873 h 8454412"/>
              <a:gd name="connsiteX19" fmla="*/ 4888983 w 14997669"/>
              <a:gd name="connsiteY19" fmla="*/ 3338017 h 8454412"/>
              <a:gd name="connsiteX20" fmla="*/ 5190309 w 14997669"/>
              <a:gd name="connsiteY20" fmla="*/ 3341555 h 8454412"/>
              <a:gd name="connsiteX21" fmla="*/ 5804081 w 14997669"/>
              <a:gd name="connsiteY21" fmla="*/ 2267646 h 8454412"/>
              <a:gd name="connsiteX22" fmla="*/ 4777423 w 14997669"/>
              <a:gd name="connsiteY22" fmla="*/ 2267646 h 8454412"/>
              <a:gd name="connsiteX23" fmla="*/ 4566558 w 14997669"/>
              <a:gd name="connsiteY23" fmla="*/ 1905296 h 8454412"/>
              <a:gd name="connsiteX24" fmla="*/ 4566558 w 14997669"/>
              <a:gd name="connsiteY24" fmla="*/ 1473585 h 8454412"/>
              <a:gd name="connsiteX25" fmla="*/ 4051840 w 14997669"/>
              <a:gd name="connsiteY25" fmla="*/ 762025 h 8454412"/>
              <a:gd name="connsiteX26" fmla="*/ 2899598 w 14997669"/>
              <a:gd name="connsiteY26" fmla="*/ 762025 h 8454412"/>
              <a:gd name="connsiteX27" fmla="*/ 2654494 w 14997669"/>
              <a:gd name="connsiteY27" fmla="*/ 1209403 h 8454412"/>
              <a:gd name="connsiteX28" fmla="*/ 2150388 w 14997669"/>
              <a:gd name="connsiteY28" fmla="*/ 1209403 h 8454412"/>
              <a:gd name="connsiteX29" fmla="*/ 1881280 w 14997669"/>
              <a:gd name="connsiteY29" fmla="*/ 749391 h 8454412"/>
              <a:gd name="connsiteX30" fmla="*/ 1151527 w 14997669"/>
              <a:gd name="connsiteY30" fmla="*/ 749391 h 8454412"/>
              <a:gd name="connsiteX31" fmla="*/ 638829 w 14997669"/>
              <a:gd name="connsiteY31" fmla="*/ 1657665 h 8454412"/>
              <a:gd name="connsiteX32" fmla="*/ 651463 w 14997669"/>
              <a:gd name="connsiteY32" fmla="*/ 2238840 h 8454412"/>
              <a:gd name="connsiteX33" fmla="*/ 976795 w 14997669"/>
              <a:gd name="connsiteY33" fmla="*/ 2708833 h 8454412"/>
              <a:gd name="connsiteX34" fmla="*/ 1357590 w 14997669"/>
              <a:gd name="connsiteY34" fmla="*/ 2708833 h 8454412"/>
              <a:gd name="connsiteX35" fmla="*/ 1494798 w 14997669"/>
              <a:gd name="connsiteY35" fmla="*/ 2529427 h 8454412"/>
              <a:gd name="connsiteX36" fmla="*/ 2541418 w 14997669"/>
              <a:gd name="connsiteY36" fmla="*/ 2529427 h 8454412"/>
              <a:gd name="connsiteX37" fmla="*/ 2775150 w 14997669"/>
              <a:gd name="connsiteY37" fmla="*/ 2954568 h 8454412"/>
              <a:gd name="connsiteX38" fmla="*/ 2775150 w 14997669"/>
              <a:gd name="connsiteY38" fmla="*/ 3494302 h 8454412"/>
              <a:gd name="connsiteX39" fmla="*/ 2961759 w 14997669"/>
              <a:gd name="connsiteY39" fmla="*/ 3814580 h 8454412"/>
              <a:gd name="connsiteX40" fmla="*/ 2961759 w 14997669"/>
              <a:gd name="connsiteY40" fmla="*/ 4142313 h 8454412"/>
              <a:gd name="connsiteX41" fmla="*/ 3296691 w 14997669"/>
              <a:gd name="connsiteY41" fmla="*/ 4702514 h 8454412"/>
              <a:gd name="connsiteX42" fmla="*/ 3296691 w 14997669"/>
              <a:gd name="connsiteY42" fmla="*/ 5049071 h 8454412"/>
              <a:gd name="connsiteX43" fmla="*/ 3519433 w 14997669"/>
              <a:gd name="connsiteY43" fmla="*/ 5339658 h 8454412"/>
              <a:gd name="connsiteX44" fmla="*/ 3707936 w 14997669"/>
              <a:gd name="connsiteY44" fmla="*/ 5339658 h 8454412"/>
              <a:gd name="connsiteX45" fmla="*/ 3858031 w 14997669"/>
              <a:gd name="connsiteY45" fmla="*/ 5091648 h 8454412"/>
              <a:gd name="connsiteX46" fmla="*/ 3858031 w 14997669"/>
              <a:gd name="connsiteY46" fmla="*/ 4846418 h 8454412"/>
              <a:gd name="connsiteX47" fmla="*/ 4333962 w 14997669"/>
              <a:gd name="connsiteY47" fmla="*/ 4085079 h 8454412"/>
              <a:gd name="connsiteX48" fmla="*/ 4338005 w 14997669"/>
              <a:gd name="connsiteY48" fmla="*/ 3492534 h 8454412"/>
              <a:gd name="connsiteX49" fmla="*/ 4609640 w 14997669"/>
              <a:gd name="connsiteY49" fmla="*/ 3036312 h 8454412"/>
              <a:gd name="connsiteX50" fmla="*/ 4993215 w 14997669"/>
              <a:gd name="connsiteY50" fmla="*/ 3034796 h 8454412"/>
              <a:gd name="connsiteX51" fmla="*/ 5266368 w 14997669"/>
              <a:gd name="connsiteY51" fmla="*/ 2573899 h 8454412"/>
              <a:gd name="connsiteX52" fmla="*/ 4580708 w 14997669"/>
              <a:gd name="connsiteY52" fmla="*/ 2571372 h 8454412"/>
              <a:gd name="connsiteX53" fmla="*/ 4221770 w 14997669"/>
              <a:gd name="connsiteY53" fmla="*/ 1983123 h 8454412"/>
              <a:gd name="connsiteX54" fmla="*/ 4236046 w 14997669"/>
              <a:gd name="connsiteY54" fmla="*/ 1602580 h 8454412"/>
              <a:gd name="connsiteX55" fmla="*/ 3906293 w 14997669"/>
              <a:gd name="connsiteY55" fmla="*/ 1118562 h 8454412"/>
              <a:gd name="connsiteX56" fmla="*/ 3097703 w 14997669"/>
              <a:gd name="connsiteY56" fmla="*/ 1114141 h 8454412"/>
              <a:gd name="connsiteX57" fmla="*/ 2847797 w 14997669"/>
              <a:gd name="connsiteY57" fmla="*/ 1552296 h 8454412"/>
              <a:gd name="connsiteX58" fmla="*/ 1932069 w 14997669"/>
              <a:gd name="connsiteY58" fmla="*/ 1552296 h 8454412"/>
              <a:gd name="connsiteX59" fmla="*/ 1706927 w 14997669"/>
              <a:gd name="connsiteY59" fmla="*/ 1132460 h 8454412"/>
              <a:gd name="connsiteX60" fmla="*/ 1368961 w 14997669"/>
              <a:gd name="connsiteY60" fmla="*/ 1132460 h 8454412"/>
              <a:gd name="connsiteX61" fmla="*/ 1018740 w 14997669"/>
              <a:gd name="connsiteY61" fmla="*/ 1796641 h 8454412"/>
              <a:gd name="connsiteX62" fmla="*/ 1025690 w 14997669"/>
              <a:gd name="connsiteY62" fmla="*/ 2129049 h 8454412"/>
              <a:gd name="connsiteX63" fmla="*/ 1095177 w 14997669"/>
              <a:gd name="connsiteY63" fmla="*/ 2221025 h 8454412"/>
              <a:gd name="connsiteX64" fmla="*/ 1206484 w 14997669"/>
              <a:gd name="connsiteY64" fmla="*/ 2219130 h 8454412"/>
              <a:gd name="connsiteX65" fmla="*/ 1302758 w 14997669"/>
              <a:gd name="connsiteY65" fmla="*/ 2137766 h 8454412"/>
              <a:gd name="connsiteX66" fmla="*/ 3350640 w 14997669"/>
              <a:gd name="connsiteY66" fmla="*/ 2139156 h 8454412"/>
              <a:gd name="connsiteX67" fmla="*/ 3551397 w 14997669"/>
              <a:gd name="connsiteY67" fmla="*/ 1745725 h 8454412"/>
              <a:gd name="connsiteX68" fmla="*/ 3584500 w 14997669"/>
              <a:gd name="connsiteY68" fmla="*/ 1745725 h 8454412"/>
              <a:gd name="connsiteX69" fmla="*/ 3647671 w 14997669"/>
              <a:gd name="connsiteY69" fmla="*/ 1828859 h 8454412"/>
              <a:gd name="connsiteX70" fmla="*/ 3647671 w 14997669"/>
              <a:gd name="connsiteY70" fmla="*/ 2246672 h 8454412"/>
              <a:gd name="connsiteX71" fmla="*/ 4031246 w 14997669"/>
              <a:gd name="connsiteY71" fmla="*/ 2890008 h 8454412"/>
              <a:gd name="connsiteX72" fmla="*/ 3752662 w 14997669"/>
              <a:gd name="connsiteY72" fmla="*/ 3307821 h 8454412"/>
              <a:gd name="connsiteX73" fmla="*/ 3744954 w 14997669"/>
              <a:gd name="connsiteY73" fmla="*/ 3931826 h 8454412"/>
              <a:gd name="connsiteX74" fmla="*/ 3622656 w 14997669"/>
              <a:gd name="connsiteY74" fmla="*/ 4117170 h 8454412"/>
              <a:gd name="connsiteX75" fmla="*/ 3511979 w 14997669"/>
              <a:gd name="connsiteY75" fmla="*/ 3931321 h 8454412"/>
              <a:gd name="connsiteX76" fmla="*/ 3511979 w 14997669"/>
              <a:gd name="connsiteY76" fmla="*/ 3552294 h 8454412"/>
              <a:gd name="connsiteX77" fmla="*/ 3374140 w 14997669"/>
              <a:gd name="connsiteY77" fmla="*/ 3326520 h 8454412"/>
              <a:gd name="connsiteX78" fmla="*/ 3374140 w 14997669"/>
              <a:gd name="connsiteY78" fmla="*/ 2797020 h 8454412"/>
              <a:gd name="connsiteX79" fmla="*/ 3209895 w 14997669"/>
              <a:gd name="connsiteY79" fmla="*/ 2519067 h 8454412"/>
              <a:gd name="connsiteX80" fmla="*/ 3381846 w 14997669"/>
              <a:gd name="connsiteY80" fmla="*/ 2519067 h 8454412"/>
              <a:gd name="connsiteX81" fmla="*/ 3599535 w 14997669"/>
              <a:gd name="connsiteY81" fmla="*/ 2861328 h 8454412"/>
              <a:gd name="connsiteX82" fmla="*/ 3432635 w 14997669"/>
              <a:gd name="connsiteY82" fmla="*/ 3114013 h 8454412"/>
              <a:gd name="connsiteX83" fmla="*/ 3432635 w 14997669"/>
              <a:gd name="connsiteY83" fmla="*/ 3238459 h 8454412"/>
              <a:gd name="connsiteX84" fmla="*/ 3647417 w 14997669"/>
              <a:gd name="connsiteY84" fmla="*/ 3238459 h 8454412"/>
              <a:gd name="connsiteX85" fmla="*/ 3647417 w 14997669"/>
              <a:gd name="connsiteY85" fmla="*/ 3178700 h 8454412"/>
              <a:gd name="connsiteX86" fmla="*/ 3855503 w 14997669"/>
              <a:gd name="connsiteY86" fmla="*/ 2864360 h 8454412"/>
              <a:gd name="connsiteX87" fmla="*/ 3499724 w 14997669"/>
              <a:gd name="connsiteY87" fmla="*/ 2304917 h 8454412"/>
              <a:gd name="connsiteX88" fmla="*/ 2833395 w 14997669"/>
              <a:gd name="connsiteY88" fmla="*/ 2304917 h 8454412"/>
              <a:gd name="connsiteX89" fmla="*/ 3158727 w 14997669"/>
              <a:gd name="connsiteY89" fmla="*/ 2855895 h 8454412"/>
              <a:gd name="connsiteX90" fmla="*/ 3158727 w 14997669"/>
              <a:gd name="connsiteY90" fmla="*/ 3386533 h 8454412"/>
              <a:gd name="connsiteX91" fmla="*/ 3296565 w 14997669"/>
              <a:gd name="connsiteY91" fmla="*/ 3612307 h 8454412"/>
              <a:gd name="connsiteX92" fmla="*/ 3296565 w 14997669"/>
              <a:gd name="connsiteY92" fmla="*/ 3989438 h 8454412"/>
              <a:gd name="connsiteX93" fmla="*/ 3612421 w 14997669"/>
              <a:gd name="connsiteY93" fmla="*/ 4519191 h 8454412"/>
              <a:gd name="connsiteX94" fmla="*/ 3958978 w 14997669"/>
              <a:gd name="connsiteY94" fmla="*/ 3997398 h 8454412"/>
              <a:gd name="connsiteX95" fmla="*/ 3966558 w 14997669"/>
              <a:gd name="connsiteY95" fmla="*/ 3373646 h 8454412"/>
              <a:gd name="connsiteX96" fmla="*/ 4285067 w 14997669"/>
              <a:gd name="connsiteY96" fmla="*/ 2895819 h 8454412"/>
              <a:gd name="connsiteX97" fmla="*/ 3862452 w 14997669"/>
              <a:gd name="connsiteY97" fmla="*/ 2187797 h 8454412"/>
              <a:gd name="connsiteX98" fmla="*/ 3862452 w 14997669"/>
              <a:gd name="connsiteY98" fmla="*/ 1756971 h 8454412"/>
              <a:gd name="connsiteX99" fmla="*/ 3691258 w 14997669"/>
              <a:gd name="connsiteY99" fmla="*/ 1531323 h 8454412"/>
              <a:gd name="connsiteX100" fmla="*/ 3420001 w 14997669"/>
              <a:gd name="connsiteY100" fmla="*/ 1531323 h 8454412"/>
              <a:gd name="connsiteX101" fmla="*/ 3219749 w 14997669"/>
              <a:gd name="connsiteY101" fmla="*/ 1924121 h 8454412"/>
              <a:gd name="connsiteX102" fmla="*/ 1236175 w 14997669"/>
              <a:gd name="connsiteY102" fmla="*/ 1922984 h 8454412"/>
              <a:gd name="connsiteX103" fmla="*/ 1234659 w 14997669"/>
              <a:gd name="connsiteY103" fmla="*/ 1847178 h 8454412"/>
              <a:gd name="connsiteX104" fmla="*/ 1497957 w 14997669"/>
              <a:gd name="connsiteY104" fmla="*/ 1346737 h 8454412"/>
              <a:gd name="connsiteX105" fmla="*/ 1578310 w 14997669"/>
              <a:gd name="connsiteY105" fmla="*/ 1346737 h 8454412"/>
              <a:gd name="connsiteX106" fmla="*/ 1803579 w 14997669"/>
              <a:gd name="connsiteY106" fmla="*/ 1766571 h 8454412"/>
              <a:gd name="connsiteX107" fmla="*/ 2972624 w 14997669"/>
              <a:gd name="connsiteY107" fmla="*/ 1766571 h 8454412"/>
              <a:gd name="connsiteX108" fmla="*/ 3222024 w 14997669"/>
              <a:gd name="connsiteY108" fmla="*/ 1329175 h 8454412"/>
              <a:gd name="connsiteX109" fmla="*/ 3792712 w 14997669"/>
              <a:gd name="connsiteY109" fmla="*/ 1332207 h 8454412"/>
              <a:gd name="connsiteX110" fmla="*/ 4019117 w 14997669"/>
              <a:gd name="connsiteY110" fmla="*/ 1664614 h 8454412"/>
              <a:gd name="connsiteX111" fmla="*/ 4005092 w 14997669"/>
              <a:gd name="connsiteY111" fmla="*/ 2039219 h 8454412"/>
              <a:gd name="connsiteX112" fmla="*/ 4459925 w 14997669"/>
              <a:gd name="connsiteY112" fmla="*/ 2785649 h 8454412"/>
              <a:gd name="connsiteX113" fmla="*/ 4890120 w 14997669"/>
              <a:gd name="connsiteY113" fmla="*/ 2787291 h 8454412"/>
              <a:gd name="connsiteX114" fmla="*/ 4870538 w 14997669"/>
              <a:gd name="connsiteY114" fmla="*/ 2820267 h 8454412"/>
              <a:gd name="connsiteX115" fmla="*/ 4487341 w 14997669"/>
              <a:gd name="connsiteY115" fmla="*/ 2821656 h 8454412"/>
              <a:gd name="connsiteX116" fmla="*/ 4123602 w 14997669"/>
              <a:gd name="connsiteY116" fmla="*/ 3432521 h 8454412"/>
              <a:gd name="connsiteX117" fmla="*/ 4119559 w 14997669"/>
              <a:gd name="connsiteY117" fmla="*/ 4022540 h 8454412"/>
              <a:gd name="connsiteX118" fmla="*/ 3643248 w 14997669"/>
              <a:gd name="connsiteY118" fmla="*/ 4784763 h 8454412"/>
              <a:gd name="connsiteX119" fmla="*/ 3643248 w 14997669"/>
              <a:gd name="connsiteY119" fmla="*/ 5032141 h 8454412"/>
              <a:gd name="connsiteX120" fmla="*/ 3603704 w 14997669"/>
              <a:gd name="connsiteY120" fmla="*/ 5097461 h 8454412"/>
              <a:gd name="connsiteX121" fmla="*/ 3511095 w 14997669"/>
              <a:gd name="connsiteY121" fmla="*/ 4976803 h 8454412"/>
              <a:gd name="connsiteX122" fmla="*/ 3511095 w 14997669"/>
              <a:gd name="connsiteY122" fmla="*/ 4643765 h 8454412"/>
              <a:gd name="connsiteX123" fmla="*/ 3176161 w 14997669"/>
              <a:gd name="connsiteY123" fmla="*/ 4083437 h 8454412"/>
              <a:gd name="connsiteX124" fmla="*/ 3176161 w 14997669"/>
              <a:gd name="connsiteY124" fmla="*/ 3756463 h 8454412"/>
              <a:gd name="connsiteX125" fmla="*/ 2989554 w 14997669"/>
              <a:gd name="connsiteY125" fmla="*/ 3436185 h 8454412"/>
              <a:gd name="connsiteX126" fmla="*/ 2989554 w 14997669"/>
              <a:gd name="connsiteY126" fmla="*/ 2899357 h 8454412"/>
              <a:gd name="connsiteX127" fmla="*/ 2668517 w 14997669"/>
              <a:gd name="connsiteY127" fmla="*/ 2314645 h 8454412"/>
              <a:gd name="connsiteX128" fmla="*/ 1388671 w 14997669"/>
              <a:gd name="connsiteY128" fmla="*/ 2314645 h 8454412"/>
              <a:gd name="connsiteX129" fmla="*/ 1251590 w 14997669"/>
              <a:gd name="connsiteY129" fmla="*/ 2493671 h 8454412"/>
              <a:gd name="connsiteX130" fmla="*/ 1089239 w 14997669"/>
              <a:gd name="connsiteY130" fmla="*/ 2493671 h 8454412"/>
              <a:gd name="connsiteX131" fmla="*/ 864224 w 14997669"/>
              <a:gd name="connsiteY131" fmla="*/ 2169224 h 8454412"/>
              <a:gd name="connsiteX132" fmla="*/ 854622 w 14997669"/>
              <a:gd name="connsiteY132" fmla="*/ 1711993 h 8454412"/>
              <a:gd name="connsiteX133" fmla="*/ 1276605 w 14997669"/>
              <a:gd name="connsiteY133" fmla="*/ 964299 h 8454412"/>
              <a:gd name="connsiteX134" fmla="*/ 1757842 w 14997669"/>
              <a:gd name="connsiteY134" fmla="*/ 964299 h 8454412"/>
              <a:gd name="connsiteX135" fmla="*/ 2026952 w 14997669"/>
              <a:gd name="connsiteY135" fmla="*/ 1424310 h 8454412"/>
              <a:gd name="connsiteX136" fmla="*/ 2781594 w 14997669"/>
              <a:gd name="connsiteY136" fmla="*/ 1424310 h 8454412"/>
              <a:gd name="connsiteX137" fmla="*/ 3026698 w 14997669"/>
              <a:gd name="connsiteY137" fmla="*/ 976933 h 8454412"/>
              <a:gd name="connsiteX138" fmla="*/ 3941796 w 14997669"/>
              <a:gd name="connsiteY138" fmla="*/ 976933 h 8454412"/>
              <a:gd name="connsiteX139" fmla="*/ 4351524 w 14997669"/>
              <a:gd name="connsiteY139" fmla="*/ 1543072 h 8454412"/>
              <a:gd name="connsiteX140" fmla="*/ 4350891 w 14997669"/>
              <a:gd name="connsiteY140" fmla="*/ 1963287 h 8454412"/>
              <a:gd name="connsiteX141" fmla="*/ 4653102 w 14997669"/>
              <a:gd name="connsiteY141" fmla="*/ 2482554 h 8454412"/>
              <a:gd name="connsiteX142" fmla="*/ 5432888 w 14997669"/>
              <a:gd name="connsiteY142" fmla="*/ 2482554 h 8454412"/>
              <a:gd name="connsiteX143" fmla="*/ 5065483 w 14997669"/>
              <a:gd name="connsiteY143" fmla="*/ 3125131 h 8454412"/>
              <a:gd name="connsiteX144" fmla="*/ 4771358 w 14997669"/>
              <a:gd name="connsiteY144" fmla="*/ 3121973 h 8454412"/>
              <a:gd name="connsiteX145" fmla="*/ 4474201 w 14997669"/>
              <a:gd name="connsiteY145" fmla="*/ 3590702 h 8454412"/>
              <a:gd name="connsiteX146" fmla="*/ 4474201 w 14997669"/>
              <a:gd name="connsiteY146" fmla="*/ 4129046 h 8454412"/>
              <a:gd name="connsiteX147" fmla="*/ 3962136 w 14997669"/>
              <a:gd name="connsiteY147" fmla="*/ 4931699 h 8454412"/>
              <a:gd name="connsiteX148" fmla="*/ 3962136 w 14997669"/>
              <a:gd name="connsiteY148" fmla="*/ 5221528 h 8454412"/>
              <a:gd name="connsiteX149" fmla="*/ 3780330 w 14997669"/>
              <a:gd name="connsiteY149" fmla="*/ 5523992 h 8454412"/>
              <a:gd name="connsiteX150" fmla="*/ 3430993 w 14997669"/>
              <a:gd name="connsiteY150" fmla="*/ 5521845 h 8454412"/>
              <a:gd name="connsiteX151" fmla="*/ 3135478 w 14997669"/>
              <a:gd name="connsiteY151" fmla="*/ 5174023 h 8454412"/>
              <a:gd name="connsiteX152" fmla="*/ 3135478 w 14997669"/>
              <a:gd name="connsiteY152" fmla="*/ 4733721 h 8454412"/>
              <a:gd name="connsiteX153" fmla="*/ 2822908 w 14997669"/>
              <a:gd name="connsiteY153" fmla="*/ 4165181 h 8454412"/>
              <a:gd name="connsiteX154" fmla="*/ 2823919 w 14997669"/>
              <a:gd name="connsiteY154" fmla="*/ 3820898 h 8454412"/>
              <a:gd name="connsiteX155" fmla="*/ 2637817 w 14997669"/>
              <a:gd name="connsiteY155" fmla="*/ 3496829 h 8454412"/>
              <a:gd name="connsiteX156" fmla="*/ 2637817 w 14997669"/>
              <a:gd name="connsiteY156" fmla="*/ 2973899 h 8454412"/>
              <a:gd name="connsiteX157" fmla="*/ 2496060 w 14997669"/>
              <a:gd name="connsiteY157" fmla="*/ 2720330 h 8454412"/>
              <a:gd name="connsiteX158" fmla="*/ 1511222 w 14997669"/>
              <a:gd name="connsiteY158" fmla="*/ 2720330 h 8454412"/>
              <a:gd name="connsiteX159" fmla="*/ 1428974 w 14997669"/>
              <a:gd name="connsiteY159" fmla="*/ 2862970 h 8454412"/>
              <a:gd name="connsiteX160" fmla="*/ 878879 w 14997669"/>
              <a:gd name="connsiteY160" fmla="*/ 2862970 h 8454412"/>
              <a:gd name="connsiteX161" fmla="*/ 510719 w 14997669"/>
              <a:gd name="connsiteY161" fmla="*/ 2290640 h 8454412"/>
              <a:gd name="connsiteX162" fmla="*/ 510719 w 14997669"/>
              <a:gd name="connsiteY162" fmla="*/ 1593609 h 8454412"/>
              <a:gd name="connsiteX163" fmla="*/ 1097958 w 14997669"/>
              <a:gd name="connsiteY163" fmla="*/ 607256 h 8454412"/>
              <a:gd name="connsiteX164" fmla="*/ 1980710 w 14997669"/>
              <a:gd name="connsiteY164" fmla="*/ 607256 h 8454412"/>
              <a:gd name="connsiteX165" fmla="*/ 2214570 w 14997669"/>
              <a:gd name="connsiteY165" fmla="*/ 993358 h 8454412"/>
              <a:gd name="connsiteX166" fmla="*/ 2597134 w 14997669"/>
              <a:gd name="connsiteY166" fmla="*/ 990831 h 8454412"/>
              <a:gd name="connsiteX167" fmla="*/ 2807999 w 14997669"/>
              <a:gd name="connsiteY167" fmla="*/ 607256 h 8454412"/>
              <a:gd name="connsiteX168" fmla="*/ 9354804 w 14997669"/>
              <a:gd name="connsiteY168" fmla="*/ 607256 h 8454412"/>
              <a:gd name="connsiteX169" fmla="*/ 9354804 w 14997669"/>
              <a:gd name="connsiteY169" fmla="*/ 392474 h 8454412"/>
              <a:gd name="connsiteX170" fmla="*/ 2680900 w 14997669"/>
              <a:gd name="connsiteY170" fmla="*/ 392474 h 8454412"/>
              <a:gd name="connsiteX171" fmla="*/ 2469907 w 14997669"/>
              <a:gd name="connsiteY171" fmla="*/ 776807 h 8454412"/>
              <a:gd name="connsiteX172" fmla="*/ 2335353 w 14997669"/>
              <a:gd name="connsiteY172" fmla="*/ 777691 h 8454412"/>
              <a:gd name="connsiteX173" fmla="*/ 2101747 w 14997669"/>
              <a:gd name="connsiteY173" fmla="*/ 392474 h 8454412"/>
              <a:gd name="connsiteX174" fmla="*/ 975910 w 14997669"/>
              <a:gd name="connsiteY174" fmla="*/ 392474 h 8454412"/>
              <a:gd name="connsiteX175" fmla="*/ 0 w 14997669"/>
              <a:gd name="connsiteY175" fmla="*/ 0 h 8454412"/>
              <a:gd name="connsiteX176" fmla="*/ 14997669 w 14997669"/>
              <a:gd name="connsiteY176" fmla="*/ 28106 h 8454412"/>
              <a:gd name="connsiteX177" fmla="*/ 11849796 w 14997669"/>
              <a:gd name="connsiteY177" fmla="*/ 6355827 h 8454412"/>
              <a:gd name="connsiteX178" fmla="*/ 11836545 w 14997669"/>
              <a:gd name="connsiteY178" fmla="*/ 6355827 h 8454412"/>
              <a:gd name="connsiteX179" fmla="*/ 14993786 w 14997669"/>
              <a:gd name="connsiteY179" fmla="*/ 8445043 h 8454412"/>
              <a:gd name="connsiteX180" fmla="*/ 28106 w 14997669"/>
              <a:gd name="connsiteY180" fmla="*/ 8454412 h 8454412"/>
              <a:gd name="connsiteX181" fmla="*/ 0 w 14997669"/>
              <a:gd name="connsiteY181" fmla="*/ 0 h 8454412"/>
              <a:gd name="connsiteX0" fmla="*/ 975910 w 14997669"/>
              <a:gd name="connsiteY0" fmla="*/ 392474 h 8454412"/>
              <a:gd name="connsiteX1" fmla="*/ 295937 w 14997669"/>
              <a:gd name="connsiteY1" fmla="*/ 1534481 h 8454412"/>
              <a:gd name="connsiteX2" fmla="*/ 295937 w 14997669"/>
              <a:gd name="connsiteY2" fmla="*/ 2353812 h 8454412"/>
              <a:gd name="connsiteX3" fmla="*/ 761887 w 14997669"/>
              <a:gd name="connsiteY3" fmla="*/ 3077626 h 8454412"/>
              <a:gd name="connsiteX4" fmla="*/ 1553042 w 14997669"/>
              <a:gd name="connsiteY4" fmla="*/ 3077626 h 8454412"/>
              <a:gd name="connsiteX5" fmla="*/ 1635417 w 14997669"/>
              <a:gd name="connsiteY5" fmla="*/ 2934986 h 8454412"/>
              <a:gd name="connsiteX6" fmla="*/ 2369844 w 14997669"/>
              <a:gd name="connsiteY6" fmla="*/ 2934986 h 8454412"/>
              <a:gd name="connsiteX7" fmla="*/ 2422782 w 14997669"/>
              <a:gd name="connsiteY7" fmla="*/ 3029742 h 8454412"/>
              <a:gd name="connsiteX8" fmla="*/ 2422782 w 14997669"/>
              <a:gd name="connsiteY8" fmla="*/ 3554063 h 8454412"/>
              <a:gd name="connsiteX9" fmla="*/ 2608758 w 14997669"/>
              <a:gd name="connsiteY9" fmla="*/ 3877752 h 8454412"/>
              <a:gd name="connsiteX10" fmla="*/ 2607747 w 14997669"/>
              <a:gd name="connsiteY10" fmla="*/ 4219886 h 8454412"/>
              <a:gd name="connsiteX11" fmla="*/ 2920445 w 14997669"/>
              <a:gd name="connsiteY11" fmla="*/ 4788427 h 8454412"/>
              <a:gd name="connsiteX12" fmla="*/ 2920445 w 14997669"/>
              <a:gd name="connsiteY12" fmla="*/ 5252355 h 8454412"/>
              <a:gd name="connsiteX13" fmla="*/ 3331310 w 14997669"/>
              <a:gd name="connsiteY13" fmla="*/ 5735994 h 8454412"/>
              <a:gd name="connsiteX14" fmla="*/ 3901618 w 14997669"/>
              <a:gd name="connsiteY14" fmla="*/ 5739531 h 8454412"/>
              <a:gd name="connsiteX15" fmla="*/ 4177171 w 14997669"/>
              <a:gd name="connsiteY15" fmla="*/ 5281162 h 8454412"/>
              <a:gd name="connsiteX16" fmla="*/ 4177171 w 14997669"/>
              <a:gd name="connsiteY16" fmla="*/ 4994365 h 8454412"/>
              <a:gd name="connsiteX17" fmla="*/ 4689236 w 14997669"/>
              <a:gd name="connsiteY17" fmla="*/ 4192091 h 8454412"/>
              <a:gd name="connsiteX18" fmla="*/ 4689236 w 14997669"/>
              <a:gd name="connsiteY18" fmla="*/ 3653873 h 8454412"/>
              <a:gd name="connsiteX19" fmla="*/ 4888983 w 14997669"/>
              <a:gd name="connsiteY19" fmla="*/ 3338017 h 8454412"/>
              <a:gd name="connsiteX20" fmla="*/ 5190309 w 14997669"/>
              <a:gd name="connsiteY20" fmla="*/ 3341555 h 8454412"/>
              <a:gd name="connsiteX21" fmla="*/ 5804081 w 14997669"/>
              <a:gd name="connsiteY21" fmla="*/ 2267646 h 8454412"/>
              <a:gd name="connsiteX22" fmla="*/ 4777423 w 14997669"/>
              <a:gd name="connsiteY22" fmla="*/ 2267646 h 8454412"/>
              <a:gd name="connsiteX23" fmla="*/ 4566558 w 14997669"/>
              <a:gd name="connsiteY23" fmla="*/ 1905296 h 8454412"/>
              <a:gd name="connsiteX24" fmla="*/ 4566558 w 14997669"/>
              <a:gd name="connsiteY24" fmla="*/ 1473585 h 8454412"/>
              <a:gd name="connsiteX25" fmla="*/ 4051840 w 14997669"/>
              <a:gd name="connsiteY25" fmla="*/ 762025 h 8454412"/>
              <a:gd name="connsiteX26" fmla="*/ 2899598 w 14997669"/>
              <a:gd name="connsiteY26" fmla="*/ 762025 h 8454412"/>
              <a:gd name="connsiteX27" fmla="*/ 2654494 w 14997669"/>
              <a:gd name="connsiteY27" fmla="*/ 1209403 h 8454412"/>
              <a:gd name="connsiteX28" fmla="*/ 2150388 w 14997669"/>
              <a:gd name="connsiteY28" fmla="*/ 1209403 h 8454412"/>
              <a:gd name="connsiteX29" fmla="*/ 1881280 w 14997669"/>
              <a:gd name="connsiteY29" fmla="*/ 749391 h 8454412"/>
              <a:gd name="connsiteX30" fmla="*/ 1151527 w 14997669"/>
              <a:gd name="connsiteY30" fmla="*/ 749391 h 8454412"/>
              <a:gd name="connsiteX31" fmla="*/ 638829 w 14997669"/>
              <a:gd name="connsiteY31" fmla="*/ 1657665 h 8454412"/>
              <a:gd name="connsiteX32" fmla="*/ 651463 w 14997669"/>
              <a:gd name="connsiteY32" fmla="*/ 2238840 h 8454412"/>
              <a:gd name="connsiteX33" fmla="*/ 976795 w 14997669"/>
              <a:gd name="connsiteY33" fmla="*/ 2708833 h 8454412"/>
              <a:gd name="connsiteX34" fmla="*/ 1357590 w 14997669"/>
              <a:gd name="connsiteY34" fmla="*/ 2708833 h 8454412"/>
              <a:gd name="connsiteX35" fmla="*/ 1494798 w 14997669"/>
              <a:gd name="connsiteY35" fmla="*/ 2529427 h 8454412"/>
              <a:gd name="connsiteX36" fmla="*/ 2541418 w 14997669"/>
              <a:gd name="connsiteY36" fmla="*/ 2529427 h 8454412"/>
              <a:gd name="connsiteX37" fmla="*/ 2775150 w 14997669"/>
              <a:gd name="connsiteY37" fmla="*/ 2954568 h 8454412"/>
              <a:gd name="connsiteX38" fmla="*/ 2775150 w 14997669"/>
              <a:gd name="connsiteY38" fmla="*/ 3494302 h 8454412"/>
              <a:gd name="connsiteX39" fmla="*/ 2961759 w 14997669"/>
              <a:gd name="connsiteY39" fmla="*/ 3814580 h 8454412"/>
              <a:gd name="connsiteX40" fmla="*/ 2961759 w 14997669"/>
              <a:gd name="connsiteY40" fmla="*/ 4142313 h 8454412"/>
              <a:gd name="connsiteX41" fmla="*/ 3296691 w 14997669"/>
              <a:gd name="connsiteY41" fmla="*/ 4702514 h 8454412"/>
              <a:gd name="connsiteX42" fmla="*/ 3296691 w 14997669"/>
              <a:gd name="connsiteY42" fmla="*/ 5049071 h 8454412"/>
              <a:gd name="connsiteX43" fmla="*/ 3519433 w 14997669"/>
              <a:gd name="connsiteY43" fmla="*/ 5339658 h 8454412"/>
              <a:gd name="connsiteX44" fmla="*/ 3707936 w 14997669"/>
              <a:gd name="connsiteY44" fmla="*/ 5339658 h 8454412"/>
              <a:gd name="connsiteX45" fmla="*/ 3858031 w 14997669"/>
              <a:gd name="connsiteY45" fmla="*/ 5091648 h 8454412"/>
              <a:gd name="connsiteX46" fmla="*/ 3858031 w 14997669"/>
              <a:gd name="connsiteY46" fmla="*/ 4846418 h 8454412"/>
              <a:gd name="connsiteX47" fmla="*/ 4333962 w 14997669"/>
              <a:gd name="connsiteY47" fmla="*/ 4085079 h 8454412"/>
              <a:gd name="connsiteX48" fmla="*/ 4338005 w 14997669"/>
              <a:gd name="connsiteY48" fmla="*/ 3492534 h 8454412"/>
              <a:gd name="connsiteX49" fmla="*/ 4609640 w 14997669"/>
              <a:gd name="connsiteY49" fmla="*/ 3036312 h 8454412"/>
              <a:gd name="connsiteX50" fmla="*/ 4993215 w 14997669"/>
              <a:gd name="connsiteY50" fmla="*/ 3034796 h 8454412"/>
              <a:gd name="connsiteX51" fmla="*/ 5266368 w 14997669"/>
              <a:gd name="connsiteY51" fmla="*/ 2573899 h 8454412"/>
              <a:gd name="connsiteX52" fmla="*/ 4580708 w 14997669"/>
              <a:gd name="connsiteY52" fmla="*/ 2571372 h 8454412"/>
              <a:gd name="connsiteX53" fmla="*/ 4221770 w 14997669"/>
              <a:gd name="connsiteY53" fmla="*/ 1983123 h 8454412"/>
              <a:gd name="connsiteX54" fmla="*/ 4236046 w 14997669"/>
              <a:gd name="connsiteY54" fmla="*/ 1602580 h 8454412"/>
              <a:gd name="connsiteX55" fmla="*/ 3906293 w 14997669"/>
              <a:gd name="connsiteY55" fmla="*/ 1118562 h 8454412"/>
              <a:gd name="connsiteX56" fmla="*/ 3097703 w 14997669"/>
              <a:gd name="connsiteY56" fmla="*/ 1114141 h 8454412"/>
              <a:gd name="connsiteX57" fmla="*/ 2847797 w 14997669"/>
              <a:gd name="connsiteY57" fmla="*/ 1552296 h 8454412"/>
              <a:gd name="connsiteX58" fmla="*/ 1932069 w 14997669"/>
              <a:gd name="connsiteY58" fmla="*/ 1552296 h 8454412"/>
              <a:gd name="connsiteX59" fmla="*/ 1706927 w 14997669"/>
              <a:gd name="connsiteY59" fmla="*/ 1132460 h 8454412"/>
              <a:gd name="connsiteX60" fmla="*/ 1368961 w 14997669"/>
              <a:gd name="connsiteY60" fmla="*/ 1132460 h 8454412"/>
              <a:gd name="connsiteX61" fmla="*/ 1018740 w 14997669"/>
              <a:gd name="connsiteY61" fmla="*/ 1796641 h 8454412"/>
              <a:gd name="connsiteX62" fmla="*/ 1025690 w 14997669"/>
              <a:gd name="connsiteY62" fmla="*/ 2129049 h 8454412"/>
              <a:gd name="connsiteX63" fmla="*/ 1095177 w 14997669"/>
              <a:gd name="connsiteY63" fmla="*/ 2221025 h 8454412"/>
              <a:gd name="connsiteX64" fmla="*/ 1206484 w 14997669"/>
              <a:gd name="connsiteY64" fmla="*/ 2219130 h 8454412"/>
              <a:gd name="connsiteX65" fmla="*/ 1302758 w 14997669"/>
              <a:gd name="connsiteY65" fmla="*/ 2137766 h 8454412"/>
              <a:gd name="connsiteX66" fmla="*/ 3350640 w 14997669"/>
              <a:gd name="connsiteY66" fmla="*/ 2139156 h 8454412"/>
              <a:gd name="connsiteX67" fmla="*/ 3551397 w 14997669"/>
              <a:gd name="connsiteY67" fmla="*/ 1745725 h 8454412"/>
              <a:gd name="connsiteX68" fmla="*/ 3584500 w 14997669"/>
              <a:gd name="connsiteY68" fmla="*/ 1745725 h 8454412"/>
              <a:gd name="connsiteX69" fmla="*/ 3647671 w 14997669"/>
              <a:gd name="connsiteY69" fmla="*/ 1828859 h 8454412"/>
              <a:gd name="connsiteX70" fmla="*/ 3647671 w 14997669"/>
              <a:gd name="connsiteY70" fmla="*/ 2246672 h 8454412"/>
              <a:gd name="connsiteX71" fmla="*/ 4031246 w 14997669"/>
              <a:gd name="connsiteY71" fmla="*/ 2890008 h 8454412"/>
              <a:gd name="connsiteX72" fmla="*/ 3752662 w 14997669"/>
              <a:gd name="connsiteY72" fmla="*/ 3307821 h 8454412"/>
              <a:gd name="connsiteX73" fmla="*/ 3744954 w 14997669"/>
              <a:gd name="connsiteY73" fmla="*/ 3931826 h 8454412"/>
              <a:gd name="connsiteX74" fmla="*/ 3622656 w 14997669"/>
              <a:gd name="connsiteY74" fmla="*/ 4117170 h 8454412"/>
              <a:gd name="connsiteX75" fmla="*/ 3511979 w 14997669"/>
              <a:gd name="connsiteY75" fmla="*/ 3931321 h 8454412"/>
              <a:gd name="connsiteX76" fmla="*/ 3511979 w 14997669"/>
              <a:gd name="connsiteY76" fmla="*/ 3552294 h 8454412"/>
              <a:gd name="connsiteX77" fmla="*/ 3374140 w 14997669"/>
              <a:gd name="connsiteY77" fmla="*/ 3326520 h 8454412"/>
              <a:gd name="connsiteX78" fmla="*/ 3374140 w 14997669"/>
              <a:gd name="connsiteY78" fmla="*/ 2797020 h 8454412"/>
              <a:gd name="connsiteX79" fmla="*/ 3209895 w 14997669"/>
              <a:gd name="connsiteY79" fmla="*/ 2519067 h 8454412"/>
              <a:gd name="connsiteX80" fmla="*/ 3381846 w 14997669"/>
              <a:gd name="connsiteY80" fmla="*/ 2519067 h 8454412"/>
              <a:gd name="connsiteX81" fmla="*/ 3599535 w 14997669"/>
              <a:gd name="connsiteY81" fmla="*/ 2861328 h 8454412"/>
              <a:gd name="connsiteX82" fmla="*/ 3432635 w 14997669"/>
              <a:gd name="connsiteY82" fmla="*/ 3114013 h 8454412"/>
              <a:gd name="connsiteX83" fmla="*/ 3432635 w 14997669"/>
              <a:gd name="connsiteY83" fmla="*/ 3238459 h 8454412"/>
              <a:gd name="connsiteX84" fmla="*/ 3647417 w 14997669"/>
              <a:gd name="connsiteY84" fmla="*/ 3238459 h 8454412"/>
              <a:gd name="connsiteX85" fmla="*/ 3647417 w 14997669"/>
              <a:gd name="connsiteY85" fmla="*/ 3178700 h 8454412"/>
              <a:gd name="connsiteX86" fmla="*/ 3855503 w 14997669"/>
              <a:gd name="connsiteY86" fmla="*/ 2864360 h 8454412"/>
              <a:gd name="connsiteX87" fmla="*/ 3499724 w 14997669"/>
              <a:gd name="connsiteY87" fmla="*/ 2304917 h 8454412"/>
              <a:gd name="connsiteX88" fmla="*/ 2833395 w 14997669"/>
              <a:gd name="connsiteY88" fmla="*/ 2304917 h 8454412"/>
              <a:gd name="connsiteX89" fmla="*/ 3158727 w 14997669"/>
              <a:gd name="connsiteY89" fmla="*/ 2855895 h 8454412"/>
              <a:gd name="connsiteX90" fmla="*/ 3158727 w 14997669"/>
              <a:gd name="connsiteY90" fmla="*/ 3386533 h 8454412"/>
              <a:gd name="connsiteX91" fmla="*/ 3296565 w 14997669"/>
              <a:gd name="connsiteY91" fmla="*/ 3612307 h 8454412"/>
              <a:gd name="connsiteX92" fmla="*/ 3296565 w 14997669"/>
              <a:gd name="connsiteY92" fmla="*/ 3989438 h 8454412"/>
              <a:gd name="connsiteX93" fmla="*/ 3612421 w 14997669"/>
              <a:gd name="connsiteY93" fmla="*/ 4519191 h 8454412"/>
              <a:gd name="connsiteX94" fmla="*/ 3958978 w 14997669"/>
              <a:gd name="connsiteY94" fmla="*/ 3997398 h 8454412"/>
              <a:gd name="connsiteX95" fmla="*/ 3966558 w 14997669"/>
              <a:gd name="connsiteY95" fmla="*/ 3373646 h 8454412"/>
              <a:gd name="connsiteX96" fmla="*/ 4285067 w 14997669"/>
              <a:gd name="connsiteY96" fmla="*/ 2895819 h 8454412"/>
              <a:gd name="connsiteX97" fmla="*/ 3862452 w 14997669"/>
              <a:gd name="connsiteY97" fmla="*/ 2187797 h 8454412"/>
              <a:gd name="connsiteX98" fmla="*/ 3862452 w 14997669"/>
              <a:gd name="connsiteY98" fmla="*/ 1756971 h 8454412"/>
              <a:gd name="connsiteX99" fmla="*/ 3691258 w 14997669"/>
              <a:gd name="connsiteY99" fmla="*/ 1531323 h 8454412"/>
              <a:gd name="connsiteX100" fmla="*/ 3420001 w 14997669"/>
              <a:gd name="connsiteY100" fmla="*/ 1531323 h 8454412"/>
              <a:gd name="connsiteX101" fmla="*/ 3219749 w 14997669"/>
              <a:gd name="connsiteY101" fmla="*/ 1924121 h 8454412"/>
              <a:gd name="connsiteX102" fmla="*/ 1236175 w 14997669"/>
              <a:gd name="connsiteY102" fmla="*/ 1922984 h 8454412"/>
              <a:gd name="connsiteX103" fmla="*/ 1234659 w 14997669"/>
              <a:gd name="connsiteY103" fmla="*/ 1847178 h 8454412"/>
              <a:gd name="connsiteX104" fmla="*/ 1497957 w 14997669"/>
              <a:gd name="connsiteY104" fmla="*/ 1346737 h 8454412"/>
              <a:gd name="connsiteX105" fmla="*/ 1578310 w 14997669"/>
              <a:gd name="connsiteY105" fmla="*/ 1346737 h 8454412"/>
              <a:gd name="connsiteX106" fmla="*/ 1803579 w 14997669"/>
              <a:gd name="connsiteY106" fmla="*/ 1766571 h 8454412"/>
              <a:gd name="connsiteX107" fmla="*/ 2972624 w 14997669"/>
              <a:gd name="connsiteY107" fmla="*/ 1766571 h 8454412"/>
              <a:gd name="connsiteX108" fmla="*/ 3222024 w 14997669"/>
              <a:gd name="connsiteY108" fmla="*/ 1329175 h 8454412"/>
              <a:gd name="connsiteX109" fmla="*/ 3792712 w 14997669"/>
              <a:gd name="connsiteY109" fmla="*/ 1332207 h 8454412"/>
              <a:gd name="connsiteX110" fmla="*/ 4019117 w 14997669"/>
              <a:gd name="connsiteY110" fmla="*/ 1664614 h 8454412"/>
              <a:gd name="connsiteX111" fmla="*/ 4005092 w 14997669"/>
              <a:gd name="connsiteY111" fmla="*/ 2039219 h 8454412"/>
              <a:gd name="connsiteX112" fmla="*/ 4459925 w 14997669"/>
              <a:gd name="connsiteY112" fmla="*/ 2785649 h 8454412"/>
              <a:gd name="connsiteX113" fmla="*/ 4890120 w 14997669"/>
              <a:gd name="connsiteY113" fmla="*/ 2787291 h 8454412"/>
              <a:gd name="connsiteX114" fmla="*/ 4870538 w 14997669"/>
              <a:gd name="connsiteY114" fmla="*/ 2820267 h 8454412"/>
              <a:gd name="connsiteX115" fmla="*/ 4487341 w 14997669"/>
              <a:gd name="connsiteY115" fmla="*/ 2821656 h 8454412"/>
              <a:gd name="connsiteX116" fmla="*/ 4123602 w 14997669"/>
              <a:gd name="connsiteY116" fmla="*/ 3432521 h 8454412"/>
              <a:gd name="connsiteX117" fmla="*/ 4119559 w 14997669"/>
              <a:gd name="connsiteY117" fmla="*/ 4022540 h 8454412"/>
              <a:gd name="connsiteX118" fmla="*/ 3643248 w 14997669"/>
              <a:gd name="connsiteY118" fmla="*/ 4784763 h 8454412"/>
              <a:gd name="connsiteX119" fmla="*/ 3643248 w 14997669"/>
              <a:gd name="connsiteY119" fmla="*/ 5032141 h 8454412"/>
              <a:gd name="connsiteX120" fmla="*/ 3603704 w 14997669"/>
              <a:gd name="connsiteY120" fmla="*/ 5097461 h 8454412"/>
              <a:gd name="connsiteX121" fmla="*/ 3511095 w 14997669"/>
              <a:gd name="connsiteY121" fmla="*/ 4976803 h 8454412"/>
              <a:gd name="connsiteX122" fmla="*/ 3511095 w 14997669"/>
              <a:gd name="connsiteY122" fmla="*/ 4643765 h 8454412"/>
              <a:gd name="connsiteX123" fmla="*/ 3176161 w 14997669"/>
              <a:gd name="connsiteY123" fmla="*/ 4083437 h 8454412"/>
              <a:gd name="connsiteX124" fmla="*/ 3176161 w 14997669"/>
              <a:gd name="connsiteY124" fmla="*/ 3756463 h 8454412"/>
              <a:gd name="connsiteX125" fmla="*/ 2989554 w 14997669"/>
              <a:gd name="connsiteY125" fmla="*/ 3436185 h 8454412"/>
              <a:gd name="connsiteX126" fmla="*/ 2989554 w 14997669"/>
              <a:gd name="connsiteY126" fmla="*/ 2899357 h 8454412"/>
              <a:gd name="connsiteX127" fmla="*/ 2668517 w 14997669"/>
              <a:gd name="connsiteY127" fmla="*/ 2314645 h 8454412"/>
              <a:gd name="connsiteX128" fmla="*/ 1388671 w 14997669"/>
              <a:gd name="connsiteY128" fmla="*/ 2314645 h 8454412"/>
              <a:gd name="connsiteX129" fmla="*/ 1251590 w 14997669"/>
              <a:gd name="connsiteY129" fmla="*/ 2493671 h 8454412"/>
              <a:gd name="connsiteX130" fmla="*/ 1089239 w 14997669"/>
              <a:gd name="connsiteY130" fmla="*/ 2493671 h 8454412"/>
              <a:gd name="connsiteX131" fmla="*/ 864224 w 14997669"/>
              <a:gd name="connsiteY131" fmla="*/ 2169224 h 8454412"/>
              <a:gd name="connsiteX132" fmla="*/ 854622 w 14997669"/>
              <a:gd name="connsiteY132" fmla="*/ 1711993 h 8454412"/>
              <a:gd name="connsiteX133" fmla="*/ 1276605 w 14997669"/>
              <a:gd name="connsiteY133" fmla="*/ 964299 h 8454412"/>
              <a:gd name="connsiteX134" fmla="*/ 1757842 w 14997669"/>
              <a:gd name="connsiteY134" fmla="*/ 964299 h 8454412"/>
              <a:gd name="connsiteX135" fmla="*/ 2026952 w 14997669"/>
              <a:gd name="connsiteY135" fmla="*/ 1424310 h 8454412"/>
              <a:gd name="connsiteX136" fmla="*/ 2781594 w 14997669"/>
              <a:gd name="connsiteY136" fmla="*/ 1424310 h 8454412"/>
              <a:gd name="connsiteX137" fmla="*/ 3026698 w 14997669"/>
              <a:gd name="connsiteY137" fmla="*/ 976933 h 8454412"/>
              <a:gd name="connsiteX138" fmla="*/ 3941796 w 14997669"/>
              <a:gd name="connsiteY138" fmla="*/ 976933 h 8454412"/>
              <a:gd name="connsiteX139" fmla="*/ 4351524 w 14997669"/>
              <a:gd name="connsiteY139" fmla="*/ 1543072 h 8454412"/>
              <a:gd name="connsiteX140" fmla="*/ 4350891 w 14997669"/>
              <a:gd name="connsiteY140" fmla="*/ 1963287 h 8454412"/>
              <a:gd name="connsiteX141" fmla="*/ 4653102 w 14997669"/>
              <a:gd name="connsiteY141" fmla="*/ 2482554 h 8454412"/>
              <a:gd name="connsiteX142" fmla="*/ 5432888 w 14997669"/>
              <a:gd name="connsiteY142" fmla="*/ 2482554 h 8454412"/>
              <a:gd name="connsiteX143" fmla="*/ 5065483 w 14997669"/>
              <a:gd name="connsiteY143" fmla="*/ 3125131 h 8454412"/>
              <a:gd name="connsiteX144" fmla="*/ 4771358 w 14997669"/>
              <a:gd name="connsiteY144" fmla="*/ 3121973 h 8454412"/>
              <a:gd name="connsiteX145" fmla="*/ 4474201 w 14997669"/>
              <a:gd name="connsiteY145" fmla="*/ 3590702 h 8454412"/>
              <a:gd name="connsiteX146" fmla="*/ 4474201 w 14997669"/>
              <a:gd name="connsiteY146" fmla="*/ 4129046 h 8454412"/>
              <a:gd name="connsiteX147" fmla="*/ 3962136 w 14997669"/>
              <a:gd name="connsiteY147" fmla="*/ 4931699 h 8454412"/>
              <a:gd name="connsiteX148" fmla="*/ 3962136 w 14997669"/>
              <a:gd name="connsiteY148" fmla="*/ 5221528 h 8454412"/>
              <a:gd name="connsiteX149" fmla="*/ 3780330 w 14997669"/>
              <a:gd name="connsiteY149" fmla="*/ 5523992 h 8454412"/>
              <a:gd name="connsiteX150" fmla="*/ 3430993 w 14997669"/>
              <a:gd name="connsiteY150" fmla="*/ 5521845 h 8454412"/>
              <a:gd name="connsiteX151" fmla="*/ 3135478 w 14997669"/>
              <a:gd name="connsiteY151" fmla="*/ 5174023 h 8454412"/>
              <a:gd name="connsiteX152" fmla="*/ 3135478 w 14997669"/>
              <a:gd name="connsiteY152" fmla="*/ 4733721 h 8454412"/>
              <a:gd name="connsiteX153" fmla="*/ 2822908 w 14997669"/>
              <a:gd name="connsiteY153" fmla="*/ 4165181 h 8454412"/>
              <a:gd name="connsiteX154" fmla="*/ 2823919 w 14997669"/>
              <a:gd name="connsiteY154" fmla="*/ 3820898 h 8454412"/>
              <a:gd name="connsiteX155" fmla="*/ 2637817 w 14997669"/>
              <a:gd name="connsiteY155" fmla="*/ 3496829 h 8454412"/>
              <a:gd name="connsiteX156" fmla="*/ 2637817 w 14997669"/>
              <a:gd name="connsiteY156" fmla="*/ 2973899 h 8454412"/>
              <a:gd name="connsiteX157" fmla="*/ 2496060 w 14997669"/>
              <a:gd name="connsiteY157" fmla="*/ 2720330 h 8454412"/>
              <a:gd name="connsiteX158" fmla="*/ 1511222 w 14997669"/>
              <a:gd name="connsiteY158" fmla="*/ 2720330 h 8454412"/>
              <a:gd name="connsiteX159" fmla="*/ 1428974 w 14997669"/>
              <a:gd name="connsiteY159" fmla="*/ 2862970 h 8454412"/>
              <a:gd name="connsiteX160" fmla="*/ 878879 w 14997669"/>
              <a:gd name="connsiteY160" fmla="*/ 2862970 h 8454412"/>
              <a:gd name="connsiteX161" fmla="*/ 510719 w 14997669"/>
              <a:gd name="connsiteY161" fmla="*/ 2290640 h 8454412"/>
              <a:gd name="connsiteX162" fmla="*/ 510719 w 14997669"/>
              <a:gd name="connsiteY162" fmla="*/ 1593609 h 8454412"/>
              <a:gd name="connsiteX163" fmla="*/ 1097958 w 14997669"/>
              <a:gd name="connsiteY163" fmla="*/ 607256 h 8454412"/>
              <a:gd name="connsiteX164" fmla="*/ 1980710 w 14997669"/>
              <a:gd name="connsiteY164" fmla="*/ 607256 h 8454412"/>
              <a:gd name="connsiteX165" fmla="*/ 2214570 w 14997669"/>
              <a:gd name="connsiteY165" fmla="*/ 993358 h 8454412"/>
              <a:gd name="connsiteX166" fmla="*/ 2597134 w 14997669"/>
              <a:gd name="connsiteY166" fmla="*/ 990831 h 8454412"/>
              <a:gd name="connsiteX167" fmla="*/ 2807999 w 14997669"/>
              <a:gd name="connsiteY167" fmla="*/ 607256 h 8454412"/>
              <a:gd name="connsiteX168" fmla="*/ 9354804 w 14997669"/>
              <a:gd name="connsiteY168" fmla="*/ 607256 h 8454412"/>
              <a:gd name="connsiteX169" fmla="*/ 9354804 w 14997669"/>
              <a:gd name="connsiteY169" fmla="*/ 392474 h 8454412"/>
              <a:gd name="connsiteX170" fmla="*/ 2680900 w 14997669"/>
              <a:gd name="connsiteY170" fmla="*/ 392474 h 8454412"/>
              <a:gd name="connsiteX171" fmla="*/ 2469907 w 14997669"/>
              <a:gd name="connsiteY171" fmla="*/ 776807 h 8454412"/>
              <a:gd name="connsiteX172" fmla="*/ 2335353 w 14997669"/>
              <a:gd name="connsiteY172" fmla="*/ 777691 h 8454412"/>
              <a:gd name="connsiteX173" fmla="*/ 2101747 w 14997669"/>
              <a:gd name="connsiteY173" fmla="*/ 392474 h 8454412"/>
              <a:gd name="connsiteX174" fmla="*/ 975910 w 14997669"/>
              <a:gd name="connsiteY174" fmla="*/ 392474 h 8454412"/>
              <a:gd name="connsiteX175" fmla="*/ 0 w 14997669"/>
              <a:gd name="connsiteY175" fmla="*/ 0 h 8454412"/>
              <a:gd name="connsiteX176" fmla="*/ 14997669 w 14997669"/>
              <a:gd name="connsiteY176" fmla="*/ 28106 h 8454412"/>
              <a:gd name="connsiteX177" fmla="*/ 11849796 w 14997669"/>
              <a:gd name="connsiteY177" fmla="*/ 6355827 h 8454412"/>
              <a:gd name="connsiteX178" fmla="*/ 14993786 w 14997669"/>
              <a:gd name="connsiteY178" fmla="*/ 8445043 h 8454412"/>
              <a:gd name="connsiteX179" fmla="*/ 28106 w 14997669"/>
              <a:gd name="connsiteY179" fmla="*/ 8454412 h 8454412"/>
              <a:gd name="connsiteX180" fmla="*/ 0 w 14997669"/>
              <a:gd name="connsiteY180" fmla="*/ 0 h 8454412"/>
              <a:gd name="connsiteX0" fmla="*/ 975910 w 14997669"/>
              <a:gd name="connsiteY0" fmla="*/ 392474 h 8454412"/>
              <a:gd name="connsiteX1" fmla="*/ 295937 w 14997669"/>
              <a:gd name="connsiteY1" fmla="*/ 1534481 h 8454412"/>
              <a:gd name="connsiteX2" fmla="*/ 295937 w 14997669"/>
              <a:gd name="connsiteY2" fmla="*/ 2353812 h 8454412"/>
              <a:gd name="connsiteX3" fmla="*/ 761887 w 14997669"/>
              <a:gd name="connsiteY3" fmla="*/ 3077626 h 8454412"/>
              <a:gd name="connsiteX4" fmla="*/ 1553042 w 14997669"/>
              <a:gd name="connsiteY4" fmla="*/ 3077626 h 8454412"/>
              <a:gd name="connsiteX5" fmla="*/ 1635417 w 14997669"/>
              <a:gd name="connsiteY5" fmla="*/ 2934986 h 8454412"/>
              <a:gd name="connsiteX6" fmla="*/ 2369844 w 14997669"/>
              <a:gd name="connsiteY6" fmla="*/ 2934986 h 8454412"/>
              <a:gd name="connsiteX7" fmla="*/ 2422782 w 14997669"/>
              <a:gd name="connsiteY7" fmla="*/ 3029742 h 8454412"/>
              <a:gd name="connsiteX8" fmla="*/ 2422782 w 14997669"/>
              <a:gd name="connsiteY8" fmla="*/ 3554063 h 8454412"/>
              <a:gd name="connsiteX9" fmla="*/ 2608758 w 14997669"/>
              <a:gd name="connsiteY9" fmla="*/ 3877752 h 8454412"/>
              <a:gd name="connsiteX10" fmla="*/ 2607747 w 14997669"/>
              <a:gd name="connsiteY10" fmla="*/ 4219886 h 8454412"/>
              <a:gd name="connsiteX11" fmla="*/ 2920445 w 14997669"/>
              <a:gd name="connsiteY11" fmla="*/ 4788427 h 8454412"/>
              <a:gd name="connsiteX12" fmla="*/ 2920445 w 14997669"/>
              <a:gd name="connsiteY12" fmla="*/ 5252355 h 8454412"/>
              <a:gd name="connsiteX13" fmla="*/ 3331310 w 14997669"/>
              <a:gd name="connsiteY13" fmla="*/ 5735994 h 8454412"/>
              <a:gd name="connsiteX14" fmla="*/ 3901618 w 14997669"/>
              <a:gd name="connsiteY14" fmla="*/ 5739531 h 8454412"/>
              <a:gd name="connsiteX15" fmla="*/ 4177171 w 14997669"/>
              <a:gd name="connsiteY15" fmla="*/ 5281162 h 8454412"/>
              <a:gd name="connsiteX16" fmla="*/ 4177171 w 14997669"/>
              <a:gd name="connsiteY16" fmla="*/ 4994365 h 8454412"/>
              <a:gd name="connsiteX17" fmla="*/ 4689236 w 14997669"/>
              <a:gd name="connsiteY17" fmla="*/ 4192091 h 8454412"/>
              <a:gd name="connsiteX18" fmla="*/ 4689236 w 14997669"/>
              <a:gd name="connsiteY18" fmla="*/ 3653873 h 8454412"/>
              <a:gd name="connsiteX19" fmla="*/ 4888983 w 14997669"/>
              <a:gd name="connsiteY19" fmla="*/ 3338017 h 8454412"/>
              <a:gd name="connsiteX20" fmla="*/ 5190309 w 14997669"/>
              <a:gd name="connsiteY20" fmla="*/ 3341555 h 8454412"/>
              <a:gd name="connsiteX21" fmla="*/ 5804081 w 14997669"/>
              <a:gd name="connsiteY21" fmla="*/ 2267646 h 8454412"/>
              <a:gd name="connsiteX22" fmla="*/ 4777423 w 14997669"/>
              <a:gd name="connsiteY22" fmla="*/ 2267646 h 8454412"/>
              <a:gd name="connsiteX23" fmla="*/ 4566558 w 14997669"/>
              <a:gd name="connsiteY23" fmla="*/ 1905296 h 8454412"/>
              <a:gd name="connsiteX24" fmla="*/ 4566558 w 14997669"/>
              <a:gd name="connsiteY24" fmla="*/ 1473585 h 8454412"/>
              <a:gd name="connsiteX25" fmla="*/ 4051840 w 14997669"/>
              <a:gd name="connsiteY25" fmla="*/ 762025 h 8454412"/>
              <a:gd name="connsiteX26" fmla="*/ 2899598 w 14997669"/>
              <a:gd name="connsiteY26" fmla="*/ 762025 h 8454412"/>
              <a:gd name="connsiteX27" fmla="*/ 2654494 w 14997669"/>
              <a:gd name="connsiteY27" fmla="*/ 1209403 h 8454412"/>
              <a:gd name="connsiteX28" fmla="*/ 2150388 w 14997669"/>
              <a:gd name="connsiteY28" fmla="*/ 1209403 h 8454412"/>
              <a:gd name="connsiteX29" fmla="*/ 1881280 w 14997669"/>
              <a:gd name="connsiteY29" fmla="*/ 749391 h 8454412"/>
              <a:gd name="connsiteX30" fmla="*/ 1151527 w 14997669"/>
              <a:gd name="connsiteY30" fmla="*/ 749391 h 8454412"/>
              <a:gd name="connsiteX31" fmla="*/ 638829 w 14997669"/>
              <a:gd name="connsiteY31" fmla="*/ 1657665 h 8454412"/>
              <a:gd name="connsiteX32" fmla="*/ 651463 w 14997669"/>
              <a:gd name="connsiteY32" fmla="*/ 2238840 h 8454412"/>
              <a:gd name="connsiteX33" fmla="*/ 976795 w 14997669"/>
              <a:gd name="connsiteY33" fmla="*/ 2708833 h 8454412"/>
              <a:gd name="connsiteX34" fmla="*/ 1357590 w 14997669"/>
              <a:gd name="connsiteY34" fmla="*/ 2708833 h 8454412"/>
              <a:gd name="connsiteX35" fmla="*/ 1494798 w 14997669"/>
              <a:gd name="connsiteY35" fmla="*/ 2529427 h 8454412"/>
              <a:gd name="connsiteX36" fmla="*/ 2541418 w 14997669"/>
              <a:gd name="connsiteY36" fmla="*/ 2529427 h 8454412"/>
              <a:gd name="connsiteX37" fmla="*/ 2775150 w 14997669"/>
              <a:gd name="connsiteY37" fmla="*/ 2954568 h 8454412"/>
              <a:gd name="connsiteX38" fmla="*/ 2775150 w 14997669"/>
              <a:gd name="connsiteY38" fmla="*/ 3494302 h 8454412"/>
              <a:gd name="connsiteX39" fmla="*/ 2961759 w 14997669"/>
              <a:gd name="connsiteY39" fmla="*/ 3814580 h 8454412"/>
              <a:gd name="connsiteX40" fmla="*/ 2961759 w 14997669"/>
              <a:gd name="connsiteY40" fmla="*/ 4142313 h 8454412"/>
              <a:gd name="connsiteX41" fmla="*/ 3296691 w 14997669"/>
              <a:gd name="connsiteY41" fmla="*/ 4702514 h 8454412"/>
              <a:gd name="connsiteX42" fmla="*/ 3296691 w 14997669"/>
              <a:gd name="connsiteY42" fmla="*/ 5049071 h 8454412"/>
              <a:gd name="connsiteX43" fmla="*/ 3519433 w 14997669"/>
              <a:gd name="connsiteY43" fmla="*/ 5339658 h 8454412"/>
              <a:gd name="connsiteX44" fmla="*/ 3707936 w 14997669"/>
              <a:gd name="connsiteY44" fmla="*/ 5339658 h 8454412"/>
              <a:gd name="connsiteX45" fmla="*/ 3858031 w 14997669"/>
              <a:gd name="connsiteY45" fmla="*/ 5091648 h 8454412"/>
              <a:gd name="connsiteX46" fmla="*/ 3858031 w 14997669"/>
              <a:gd name="connsiteY46" fmla="*/ 4846418 h 8454412"/>
              <a:gd name="connsiteX47" fmla="*/ 4333962 w 14997669"/>
              <a:gd name="connsiteY47" fmla="*/ 4085079 h 8454412"/>
              <a:gd name="connsiteX48" fmla="*/ 4338005 w 14997669"/>
              <a:gd name="connsiteY48" fmla="*/ 3492534 h 8454412"/>
              <a:gd name="connsiteX49" fmla="*/ 4609640 w 14997669"/>
              <a:gd name="connsiteY49" fmla="*/ 3036312 h 8454412"/>
              <a:gd name="connsiteX50" fmla="*/ 4993215 w 14997669"/>
              <a:gd name="connsiteY50" fmla="*/ 3034796 h 8454412"/>
              <a:gd name="connsiteX51" fmla="*/ 5266368 w 14997669"/>
              <a:gd name="connsiteY51" fmla="*/ 2573899 h 8454412"/>
              <a:gd name="connsiteX52" fmla="*/ 4580708 w 14997669"/>
              <a:gd name="connsiteY52" fmla="*/ 2571372 h 8454412"/>
              <a:gd name="connsiteX53" fmla="*/ 4221770 w 14997669"/>
              <a:gd name="connsiteY53" fmla="*/ 1983123 h 8454412"/>
              <a:gd name="connsiteX54" fmla="*/ 4236046 w 14997669"/>
              <a:gd name="connsiteY54" fmla="*/ 1602580 h 8454412"/>
              <a:gd name="connsiteX55" fmla="*/ 3906293 w 14997669"/>
              <a:gd name="connsiteY55" fmla="*/ 1118562 h 8454412"/>
              <a:gd name="connsiteX56" fmla="*/ 3097703 w 14997669"/>
              <a:gd name="connsiteY56" fmla="*/ 1114141 h 8454412"/>
              <a:gd name="connsiteX57" fmla="*/ 2847797 w 14997669"/>
              <a:gd name="connsiteY57" fmla="*/ 1552296 h 8454412"/>
              <a:gd name="connsiteX58" fmla="*/ 1932069 w 14997669"/>
              <a:gd name="connsiteY58" fmla="*/ 1552296 h 8454412"/>
              <a:gd name="connsiteX59" fmla="*/ 1706927 w 14997669"/>
              <a:gd name="connsiteY59" fmla="*/ 1132460 h 8454412"/>
              <a:gd name="connsiteX60" fmla="*/ 1368961 w 14997669"/>
              <a:gd name="connsiteY60" fmla="*/ 1132460 h 8454412"/>
              <a:gd name="connsiteX61" fmla="*/ 1018740 w 14997669"/>
              <a:gd name="connsiteY61" fmla="*/ 1796641 h 8454412"/>
              <a:gd name="connsiteX62" fmla="*/ 1025690 w 14997669"/>
              <a:gd name="connsiteY62" fmla="*/ 2129049 h 8454412"/>
              <a:gd name="connsiteX63" fmla="*/ 1095177 w 14997669"/>
              <a:gd name="connsiteY63" fmla="*/ 2221025 h 8454412"/>
              <a:gd name="connsiteX64" fmla="*/ 1206484 w 14997669"/>
              <a:gd name="connsiteY64" fmla="*/ 2219130 h 8454412"/>
              <a:gd name="connsiteX65" fmla="*/ 1302758 w 14997669"/>
              <a:gd name="connsiteY65" fmla="*/ 2137766 h 8454412"/>
              <a:gd name="connsiteX66" fmla="*/ 3350640 w 14997669"/>
              <a:gd name="connsiteY66" fmla="*/ 2139156 h 8454412"/>
              <a:gd name="connsiteX67" fmla="*/ 3551397 w 14997669"/>
              <a:gd name="connsiteY67" fmla="*/ 1745725 h 8454412"/>
              <a:gd name="connsiteX68" fmla="*/ 3584500 w 14997669"/>
              <a:gd name="connsiteY68" fmla="*/ 1745725 h 8454412"/>
              <a:gd name="connsiteX69" fmla="*/ 3647671 w 14997669"/>
              <a:gd name="connsiteY69" fmla="*/ 1828859 h 8454412"/>
              <a:gd name="connsiteX70" fmla="*/ 3647671 w 14997669"/>
              <a:gd name="connsiteY70" fmla="*/ 2246672 h 8454412"/>
              <a:gd name="connsiteX71" fmla="*/ 4031246 w 14997669"/>
              <a:gd name="connsiteY71" fmla="*/ 2890008 h 8454412"/>
              <a:gd name="connsiteX72" fmla="*/ 3752662 w 14997669"/>
              <a:gd name="connsiteY72" fmla="*/ 3307821 h 8454412"/>
              <a:gd name="connsiteX73" fmla="*/ 3744954 w 14997669"/>
              <a:gd name="connsiteY73" fmla="*/ 3931826 h 8454412"/>
              <a:gd name="connsiteX74" fmla="*/ 3622656 w 14997669"/>
              <a:gd name="connsiteY74" fmla="*/ 4117170 h 8454412"/>
              <a:gd name="connsiteX75" fmla="*/ 3511979 w 14997669"/>
              <a:gd name="connsiteY75" fmla="*/ 3931321 h 8454412"/>
              <a:gd name="connsiteX76" fmla="*/ 3511979 w 14997669"/>
              <a:gd name="connsiteY76" fmla="*/ 3552294 h 8454412"/>
              <a:gd name="connsiteX77" fmla="*/ 3374140 w 14997669"/>
              <a:gd name="connsiteY77" fmla="*/ 3326520 h 8454412"/>
              <a:gd name="connsiteX78" fmla="*/ 3374140 w 14997669"/>
              <a:gd name="connsiteY78" fmla="*/ 2797020 h 8454412"/>
              <a:gd name="connsiteX79" fmla="*/ 3209895 w 14997669"/>
              <a:gd name="connsiteY79" fmla="*/ 2519067 h 8454412"/>
              <a:gd name="connsiteX80" fmla="*/ 3381846 w 14997669"/>
              <a:gd name="connsiteY80" fmla="*/ 2519067 h 8454412"/>
              <a:gd name="connsiteX81" fmla="*/ 3599535 w 14997669"/>
              <a:gd name="connsiteY81" fmla="*/ 2861328 h 8454412"/>
              <a:gd name="connsiteX82" fmla="*/ 3432635 w 14997669"/>
              <a:gd name="connsiteY82" fmla="*/ 3114013 h 8454412"/>
              <a:gd name="connsiteX83" fmla="*/ 3432635 w 14997669"/>
              <a:gd name="connsiteY83" fmla="*/ 3238459 h 8454412"/>
              <a:gd name="connsiteX84" fmla="*/ 3647417 w 14997669"/>
              <a:gd name="connsiteY84" fmla="*/ 3238459 h 8454412"/>
              <a:gd name="connsiteX85" fmla="*/ 3647417 w 14997669"/>
              <a:gd name="connsiteY85" fmla="*/ 3178700 h 8454412"/>
              <a:gd name="connsiteX86" fmla="*/ 3855503 w 14997669"/>
              <a:gd name="connsiteY86" fmla="*/ 2864360 h 8454412"/>
              <a:gd name="connsiteX87" fmla="*/ 3499724 w 14997669"/>
              <a:gd name="connsiteY87" fmla="*/ 2304917 h 8454412"/>
              <a:gd name="connsiteX88" fmla="*/ 2833395 w 14997669"/>
              <a:gd name="connsiteY88" fmla="*/ 2304917 h 8454412"/>
              <a:gd name="connsiteX89" fmla="*/ 3158727 w 14997669"/>
              <a:gd name="connsiteY89" fmla="*/ 2855895 h 8454412"/>
              <a:gd name="connsiteX90" fmla="*/ 3158727 w 14997669"/>
              <a:gd name="connsiteY90" fmla="*/ 3386533 h 8454412"/>
              <a:gd name="connsiteX91" fmla="*/ 3296565 w 14997669"/>
              <a:gd name="connsiteY91" fmla="*/ 3612307 h 8454412"/>
              <a:gd name="connsiteX92" fmla="*/ 3296565 w 14997669"/>
              <a:gd name="connsiteY92" fmla="*/ 3989438 h 8454412"/>
              <a:gd name="connsiteX93" fmla="*/ 3612421 w 14997669"/>
              <a:gd name="connsiteY93" fmla="*/ 4519191 h 8454412"/>
              <a:gd name="connsiteX94" fmla="*/ 3958978 w 14997669"/>
              <a:gd name="connsiteY94" fmla="*/ 3997398 h 8454412"/>
              <a:gd name="connsiteX95" fmla="*/ 3966558 w 14997669"/>
              <a:gd name="connsiteY95" fmla="*/ 3373646 h 8454412"/>
              <a:gd name="connsiteX96" fmla="*/ 4285067 w 14997669"/>
              <a:gd name="connsiteY96" fmla="*/ 2895819 h 8454412"/>
              <a:gd name="connsiteX97" fmla="*/ 3862452 w 14997669"/>
              <a:gd name="connsiteY97" fmla="*/ 2187797 h 8454412"/>
              <a:gd name="connsiteX98" fmla="*/ 3862452 w 14997669"/>
              <a:gd name="connsiteY98" fmla="*/ 1756971 h 8454412"/>
              <a:gd name="connsiteX99" fmla="*/ 3691258 w 14997669"/>
              <a:gd name="connsiteY99" fmla="*/ 1531323 h 8454412"/>
              <a:gd name="connsiteX100" fmla="*/ 3420001 w 14997669"/>
              <a:gd name="connsiteY100" fmla="*/ 1531323 h 8454412"/>
              <a:gd name="connsiteX101" fmla="*/ 3219749 w 14997669"/>
              <a:gd name="connsiteY101" fmla="*/ 1924121 h 8454412"/>
              <a:gd name="connsiteX102" fmla="*/ 1236175 w 14997669"/>
              <a:gd name="connsiteY102" fmla="*/ 1922984 h 8454412"/>
              <a:gd name="connsiteX103" fmla="*/ 1234659 w 14997669"/>
              <a:gd name="connsiteY103" fmla="*/ 1847178 h 8454412"/>
              <a:gd name="connsiteX104" fmla="*/ 1497957 w 14997669"/>
              <a:gd name="connsiteY104" fmla="*/ 1346737 h 8454412"/>
              <a:gd name="connsiteX105" fmla="*/ 1578310 w 14997669"/>
              <a:gd name="connsiteY105" fmla="*/ 1346737 h 8454412"/>
              <a:gd name="connsiteX106" fmla="*/ 1803579 w 14997669"/>
              <a:gd name="connsiteY106" fmla="*/ 1766571 h 8454412"/>
              <a:gd name="connsiteX107" fmla="*/ 2972624 w 14997669"/>
              <a:gd name="connsiteY107" fmla="*/ 1766571 h 8454412"/>
              <a:gd name="connsiteX108" fmla="*/ 3222024 w 14997669"/>
              <a:gd name="connsiteY108" fmla="*/ 1329175 h 8454412"/>
              <a:gd name="connsiteX109" fmla="*/ 3792712 w 14997669"/>
              <a:gd name="connsiteY109" fmla="*/ 1332207 h 8454412"/>
              <a:gd name="connsiteX110" fmla="*/ 4019117 w 14997669"/>
              <a:gd name="connsiteY110" fmla="*/ 1664614 h 8454412"/>
              <a:gd name="connsiteX111" fmla="*/ 4005092 w 14997669"/>
              <a:gd name="connsiteY111" fmla="*/ 2039219 h 8454412"/>
              <a:gd name="connsiteX112" fmla="*/ 4459925 w 14997669"/>
              <a:gd name="connsiteY112" fmla="*/ 2785649 h 8454412"/>
              <a:gd name="connsiteX113" fmla="*/ 4890120 w 14997669"/>
              <a:gd name="connsiteY113" fmla="*/ 2787291 h 8454412"/>
              <a:gd name="connsiteX114" fmla="*/ 4870538 w 14997669"/>
              <a:gd name="connsiteY114" fmla="*/ 2820267 h 8454412"/>
              <a:gd name="connsiteX115" fmla="*/ 4487341 w 14997669"/>
              <a:gd name="connsiteY115" fmla="*/ 2821656 h 8454412"/>
              <a:gd name="connsiteX116" fmla="*/ 4123602 w 14997669"/>
              <a:gd name="connsiteY116" fmla="*/ 3432521 h 8454412"/>
              <a:gd name="connsiteX117" fmla="*/ 4119559 w 14997669"/>
              <a:gd name="connsiteY117" fmla="*/ 4022540 h 8454412"/>
              <a:gd name="connsiteX118" fmla="*/ 3643248 w 14997669"/>
              <a:gd name="connsiteY118" fmla="*/ 4784763 h 8454412"/>
              <a:gd name="connsiteX119" fmla="*/ 3643248 w 14997669"/>
              <a:gd name="connsiteY119" fmla="*/ 5032141 h 8454412"/>
              <a:gd name="connsiteX120" fmla="*/ 3603704 w 14997669"/>
              <a:gd name="connsiteY120" fmla="*/ 5097461 h 8454412"/>
              <a:gd name="connsiteX121" fmla="*/ 3511095 w 14997669"/>
              <a:gd name="connsiteY121" fmla="*/ 4976803 h 8454412"/>
              <a:gd name="connsiteX122" fmla="*/ 3511095 w 14997669"/>
              <a:gd name="connsiteY122" fmla="*/ 4643765 h 8454412"/>
              <a:gd name="connsiteX123" fmla="*/ 3176161 w 14997669"/>
              <a:gd name="connsiteY123" fmla="*/ 4083437 h 8454412"/>
              <a:gd name="connsiteX124" fmla="*/ 3176161 w 14997669"/>
              <a:gd name="connsiteY124" fmla="*/ 3756463 h 8454412"/>
              <a:gd name="connsiteX125" fmla="*/ 2989554 w 14997669"/>
              <a:gd name="connsiteY125" fmla="*/ 3436185 h 8454412"/>
              <a:gd name="connsiteX126" fmla="*/ 2989554 w 14997669"/>
              <a:gd name="connsiteY126" fmla="*/ 2899357 h 8454412"/>
              <a:gd name="connsiteX127" fmla="*/ 2668517 w 14997669"/>
              <a:gd name="connsiteY127" fmla="*/ 2314645 h 8454412"/>
              <a:gd name="connsiteX128" fmla="*/ 1388671 w 14997669"/>
              <a:gd name="connsiteY128" fmla="*/ 2314645 h 8454412"/>
              <a:gd name="connsiteX129" fmla="*/ 1251590 w 14997669"/>
              <a:gd name="connsiteY129" fmla="*/ 2493671 h 8454412"/>
              <a:gd name="connsiteX130" fmla="*/ 1089239 w 14997669"/>
              <a:gd name="connsiteY130" fmla="*/ 2493671 h 8454412"/>
              <a:gd name="connsiteX131" fmla="*/ 864224 w 14997669"/>
              <a:gd name="connsiteY131" fmla="*/ 2169224 h 8454412"/>
              <a:gd name="connsiteX132" fmla="*/ 854622 w 14997669"/>
              <a:gd name="connsiteY132" fmla="*/ 1711993 h 8454412"/>
              <a:gd name="connsiteX133" fmla="*/ 1276605 w 14997669"/>
              <a:gd name="connsiteY133" fmla="*/ 964299 h 8454412"/>
              <a:gd name="connsiteX134" fmla="*/ 1757842 w 14997669"/>
              <a:gd name="connsiteY134" fmla="*/ 964299 h 8454412"/>
              <a:gd name="connsiteX135" fmla="*/ 2026952 w 14997669"/>
              <a:gd name="connsiteY135" fmla="*/ 1424310 h 8454412"/>
              <a:gd name="connsiteX136" fmla="*/ 2781594 w 14997669"/>
              <a:gd name="connsiteY136" fmla="*/ 1424310 h 8454412"/>
              <a:gd name="connsiteX137" fmla="*/ 3026698 w 14997669"/>
              <a:gd name="connsiteY137" fmla="*/ 976933 h 8454412"/>
              <a:gd name="connsiteX138" fmla="*/ 3941796 w 14997669"/>
              <a:gd name="connsiteY138" fmla="*/ 976933 h 8454412"/>
              <a:gd name="connsiteX139" fmla="*/ 4351524 w 14997669"/>
              <a:gd name="connsiteY139" fmla="*/ 1543072 h 8454412"/>
              <a:gd name="connsiteX140" fmla="*/ 4350891 w 14997669"/>
              <a:gd name="connsiteY140" fmla="*/ 1963287 h 8454412"/>
              <a:gd name="connsiteX141" fmla="*/ 4653102 w 14997669"/>
              <a:gd name="connsiteY141" fmla="*/ 2482554 h 8454412"/>
              <a:gd name="connsiteX142" fmla="*/ 5432888 w 14997669"/>
              <a:gd name="connsiteY142" fmla="*/ 2482554 h 8454412"/>
              <a:gd name="connsiteX143" fmla="*/ 5065483 w 14997669"/>
              <a:gd name="connsiteY143" fmla="*/ 3125131 h 8454412"/>
              <a:gd name="connsiteX144" fmla="*/ 4771358 w 14997669"/>
              <a:gd name="connsiteY144" fmla="*/ 3121973 h 8454412"/>
              <a:gd name="connsiteX145" fmla="*/ 4474201 w 14997669"/>
              <a:gd name="connsiteY145" fmla="*/ 3590702 h 8454412"/>
              <a:gd name="connsiteX146" fmla="*/ 4474201 w 14997669"/>
              <a:gd name="connsiteY146" fmla="*/ 4129046 h 8454412"/>
              <a:gd name="connsiteX147" fmla="*/ 3962136 w 14997669"/>
              <a:gd name="connsiteY147" fmla="*/ 4931699 h 8454412"/>
              <a:gd name="connsiteX148" fmla="*/ 3962136 w 14997669"/>
              <a:gd name="connsiteY148" fmla="*/ 5221528 h 8454412"/>
              <a:gd name="connsiteX149" fmla="*/ 3780330 w 14997669"/>
              <a:gd name="connsiteY149" fmla="*/ 5523992 h 8454412"/>
              <a:gd name="connsiteX150" fmla="*/ 3430993 w 14997669"/>
              <a:gd name="connsiteY150" fmla="*/ 5521845 h 8454412"/>
              <a:gd name="connsiteX151" fmla="*/ 3135478 w 14997669"/>
              <a:gd name="connsiteY151" fmla="*/ 5174023 h 8454412"/>
              <a:gd name="connsiteX152" fmla="*/ 3135478 w 14997669"/>
              <a:gd name="connsiteY152" fmla="*/ 4733721 h 8454412"/>
              <a:gd name="connsiteX153" fmla="*/ 2822908 w 14997669"/>
              <a:gd name="connsiteY153" fmla="*/ 4165181 h 8454412"/>
              <a:gd name="connsiteX154" fmla="*/ 2823919 w 14997669"/>
              <a:gd name="connsiteY154" fmla="*/ 3820898 h 8454412"/>
              <a:gd name="connsiteX155" fmla="*/ 2637817 w 14997669"/>
              <a:gd name="connsiteY155" fmla="*/ 3496829 h 8454412"/>
              <a:gd name="connsiteX156" fmla="*/ 2637817 w 14997669"/>
              <a:gd name="connsiteY156" fmla="*/ 2973899 h 8454412"/>
              <a:gd name="connsiteX157" fmla="*/ 2496060 w 14997669"/>
              <a:gd name="connsiteY157" fmla="*/ 2720330 h 8454412"/>
              <a:gd name="connsiteX158" fmla="*/ 1511222 w 14997669"/>
              <a:gd name="connsiteY158" fmla="*/ 2720330 h 8454412"/>
              <a:gd name="connsiteX159" fmla="*/ 1428974 w 14997669"/>
              <a:gd name="connsiteY159" fmla="*/ 2862970 h 8454412"/>
              <a:gd name="connsiteX160" fmla="*/ 878879 w 14997669"/>
              <a:gd name="connsiteY160" fmla="*/ 2862970 h 8454412"/>
              <a:gd name="connsiteX161" fmla="*/ 510719 w 14997669"/>
              <a:gd name="connsiteY161" fmla="*/ 2290640 h 8454412"/>
              <a:gd name="connsiteX162" fmla="*/ 510719 w 14997669"/>
              <a:gd name="connsiteY162" fmla="*/ 1593609 h 8454412"/>
              <a:gd name="connsiteX163" fmla="*/ 1097958 w 14997669"/>
              <a:gd name="connsiteY163" fmla="*/ 607256 h 8454412"/>
              <a:gd name="connsiteX164" fmla="*/ 1980710 w 14997669"/>
              <a:gd name="connsiteY164" fmla="*/ 607256 h 8454412"/>
              <a:gd name="connsiteX165" fmla="*/ 2214570 w 14997669"/>
              <a:gd name="connsiteY165" fmla="*/ 993358 h 8454412"/>
              <a:gd name="connsiteX166" fmla="*/ 2597134 w 14997669"/>
              <a:gd name="connsiteY166" fmla="*/ 990831 h 8454412"/>
              <a:gd name="connsiteX167" fmla="*/ 2807999 w 14997669"/>
              <a:gd name="connsiteY167" fmla="*/ 607256 h 8454412"/>
              <a:gd name="connsiteX168" fmla="*/ 9354804 w 14997669"/>
              <a:gd name="connsiteY168" fmla="*/ 607256 h 8454412"/>
              <a:gd name="connsiteX169" fmla="*/ 9354804 w 14997669"/>
              <a:gd name="connsiteY169" fmla="*/ 392474 h 8454412"/>
              <a:gd name="connsiteX170" fmla="*/ 2680900 w 14997669"/>
              <a:gd name="connsiteY170" fmla="*/ 392474 h 8454412"/>
              <a:gd name="connsiteX171" fmla="*/ 2469907 w 14997669"/>
              <a:gd name="connsiteY171" fmla="*/ 776807 h 8454412"/>
              <a:gd name="connsiteX172" fmla="*/ 2335353 w 14997669"/>
              <a:gd name="connsiteY172" fmla="*/ 777691 h 8454412"/>
              <a:gd name="connsiteX173" fmla="*/ 2101747 w 14997669"/>
              <a:gd name="connsiteY173" fmla="*/ 392474 h 8454412"/>
              <a:gd name="connsiteX174" fmla="*/ 975910 w 14997669"/>
              <a:gd name="connsiteY174" fmla="*/ 392474 h 8454412"/>
              <a:gd name="connsiteX175" fmla="*/ 0 w 14997669"/>
              <a:gd name="connsiteY175" fmla="*/ 0 h 8454412"/>
              <a:gd name="connsiteX176" fmla="*/ 14997669 w 14997669"/>
              <a:gd name="connsiteY176" fmla="*/ 28106 h 8454412"/>
              <a:gd name="connsiteX177" fmla="*/ 14993786 w 14997669"/>
              <a:gd name="connsiteY177" fmla="*/ 8445043 h 8454412"/>
              <a:gd name="connsiteX178" fmla="*/ 28106 w 14997669"/>
              <a:gd name="connsiteY178" fmla="*/ 8454412 h 8454412"/>
              <a:gd name="connsiteX179" fmla="*/ 0 w 14997669"/>
              <a:gd name="connsiteY179" fmla="*/ 0 h 8454412"/>
              <a:gd name="connsiteX0" fmla="*/ 975910 w 14997669"/>
              <a:gd name="connsiteY0" fmla="*/ 395597 h 8457535"/>
              <a:gd name="connsiteX1" fmla="*/ 295937 w 14997669"/>
              <a:gd name="connsiteY1" fmla="*/ 1537604 h 8457535"/>
              <a:gd name="connsiteX2" fmla="*/ 295937 w 14997669"/>
              <a:gd name="connsiteY2" fmla="*/ 2356935 h 8457535"/>
              <a:gd name="connsiteX3" fmla="*/ 761887 w 14997669"/>
              <a:gd name="connsiteY3" fmla="*/ 3080749 h 8457535"/>
              <a:gd name="connsiteX4" fmla="*/ 1553042 w 14997669"/>
              <a:gd name="connsiteY4" fmla="*/ 3080749 h 8457535"/>
              <a:gd name="connsiteX5" fmla="*/ 1635417 w 14997669"/>
              <a:gd name="connsiteY5" fmla="*/ 2938109 h 8457535"/>
              <a:gd name="connsiteX6" fmla="*/ 2369844 w 14997669"/>
              <a:gd name="connsiteY6" fmla="*/ 2938109 h 8457535"/>
              <a:gd name="connsiteX7" fmla="*/ 2422782 w 14997669"/>
              <a:gd name="connsiteY7" fmla="*/ 3032865 h 8457535"/>
              <a:gd name="connsiteX8" fmla="*/ 2422782 w 14997669"/>
              <a:gd name="connsiteY8" fmla="*/ 3557186 h 8457535"/>
              <a:gd name="connsiteX9" fmla="*/ 2608758 w 14997669"/>
              <a:gd name="connsiteY9" fmla="*/ 3880875 h 8457535"/>
              <a:gd name="connsiteX10" fmla="*/ 2607747 w 14997669"/>
              <a:gd name="connsiteY10" fmla="*/ 4223009 h 8457535"/>
              <a:gd name="connsiteX11" fmla="*/ 2920445 w 14997669"/>
              <a:gd name="connsiteY11" fmla="*/ 4791550 h 8457535"/>
              <a:gd name="connsiteX12" fmla="*/ 2920445 w 14997669"/>
              <a:gd name="connsiteY12" fmla="*/ 5255478 h 8457535"/>
              <a:gd name="connsiteX13" fmla="*/ 3331310 w 14997669"/>
              <a:gd name="connsiteY13" fmla="*/ 5739117 h 8457535"/>
              <a:gd name="connsiteX14" fmla="*/ 3901618 w 14997669"/>
              <a:gd name="connsiteY14" fmla="*/ 5742654 h 8457535"/>
              <a:gd name="connsiteX15" fmla="*/ 4177171 w 14997669"/>
              <a:gd name="connsiteY15" fmla="*/ 5284285 h 8457535"/>
              <a:gd name="connsiteX16" fmla="*/ 4177171 w 14997669"/>
              <a:gd name="connsiteY16" fmla="*/ 4997488 h 8457535"/>
              <a:gd name="connsiteX17" fmla="*/ 4689236 w 14997669"/>
              <a:gd name="connsiteY17" fmla="*/ 4195214 h 8457535"/>
              <a:gd name="connsiteX18" fmla="*/ 4689236 w 14997669"/>
              <a:gd name="connsiteY18" fmla="*/ 3656996 h 8457535"/>
              <a:gd name="connsiteX19" fmla="*/ 4888983 w 14997669"/>
              <a:gd name="connsiteY19" fmla="*/ 3341140 h 8457535"/>
              <a:gd name="connsiteX20" fmla="*/ 5190309 w 14997669"/>
              <a:gd name="connsiteY20" fmla="*/ 3344678 h 8457535"/>
              <a:gd name="connsiteX21" fmla="*/ 5804081 w 14997669"/>
              <a:gd name="connsiteY21" fmla="*/ 2270769 h 8457535"/>
              <a:gd name="connsiteX22" fmla="*/ 4777423 w 14997669"/>
              <a:gd name="connsiteY22" fmla="*/ 2270769 h 8457535"/>
              <a:gd name="connsiteX23" fmla="*/ 4566558 w 14997669"/>
              <a:gd name="connsiteY23" fmla="*/ 1908419 h 8457535"/>
              <a:gd name="connsiteX24" fmla="*/ 4566558 w 14997669"/>
              <a:gd name="connsiteY24" fmla="*/ 1476708 h 8457535"/>
              <a:gd name="connsiteX25" fmla="*/ 4051840 w 14997669"/>
              <a:gd name="connsiteY25" fmla="*/ 765148 h 8457535"/>
              <a:gd name="connsiteX26" fmla="*/ 2899598 w 14997669"/>
              <a:gd name="connsiteY26" fmla="*/ 765148 h 8457535"/>
              <a:gd name="connsiteX27" fmla="*/ 2654494 w 14997669"/>
              <a:gd name="connsiteY27" fmla="*/ 1212526 h 8457535"/>
              <a:gd name="connsiteX28" fmla="*/ 2150388 w 14997669"/>
              <a:gd name="connsiteY28" fmla="*/ 1212526 h 8457535"/>
              <a:gd name="connsiteX29" fmla="*/ 1881280 w 14997669"/>
              <a:gd name="connsiteY29" fmla="*/ 752514 h 8457535"/>
              <a:gd name="connsiteX30" fmla="*/ 1151527 w 14997669"/>
              <a:gd name="connsiteY30" fmla="*/ 752514 h 8457535"/>
              <a:gd name="connsiteX31" fmla="*/ 638829 w 14997669"/>
              <a:gd name="connsiteY31" fmla="*/ 1660788 h 8457535"/>
              <a:gd name="connsiteX32" fmla="*/ 651463 w 14997669"/>
              <a:gd name="connsiteY32" fmla="*/ 2241963 h 8457535"/>
              <a:gd name="connsiteX33" fmla="*/ 976795 w 14997669"/>
              <a:gd name="connsiteY33" fmla="*/ 2711956 h 8457535"/>
              <a:gd name="connsiteX34" fmla="*/ 1357590 w 14997669"/>
              <a:gd name="connsiteY34" fmla="*/ 2711956 h 8457535"/>
              <a:gd name="connsiteX35" fmla="*/ 1494798 w 14997669"/>
              <a:gd name="connsiteY35" fmla="*/ 2532550 h 8457535"/>
              <a:gd name="connsiteX36" fmla="*/ 2541418 w 14997669"/>
              <a:gd name="connsiteY36" fmla="*/ 2532550 h 8457535"/>
              <a:gd name="connsiteX37" fmla="*/ 2775150 w 14997669"/>
              <a:gd name="connsiteY37" fmla="*/ 2957691 h 8457535"/>
              <a:gd name="connsiteX38" fmla="*/ 2775150 w 14997669"/>
              <a:gd name="connsiteY38" fmla="*/ 3497425 h 8457535"/>
              <a:gd name="connsiteX39" fmla="*/ 2961759 w 14997669"/>
              <a:gd name="connsiteY39" fmla="*/ 3817703 h 8457535"/>
              <a:gd name="connsiteX40" fmla="*/ 2961759 w 14997669"/>
              <a:gd name="connsiteY40" fmla="*/ 4145436 h 8457535"/>
              <a:gd name="connsiteX41" fmla="*/ 3296691 w 14997669"/>
              <a:gd name="connsiteY41" fmla="*/ 4705637 h 8457535"/>
              <a:gd name="connsiteX42" fmla="*/ 3296691 w 14997669"/>
              <a:gd name="connsiteY42" fmla="*/ 5052194 h 8457535"/>
              <a:gd name="connsiteX43" fmla="*/ 3519433 w 14997669"/>
              <a:gd name="connsiteY43" fmla="*/ 5342781 h 8457535"/>
              <a:gd name="connsiteX44" fmla="*/ 3707936 w 14997669"/>
              <a:gd name="connsiteY44" fmla="*/ 5342781 h 8457535"/>
              <a:gd name="connsiteX45" fmla="*/ 3858031 w 14997669"/>
              <a:gd name="connsiteY45" fmla="*/ 5094771 h 8457535"/>
              <a:gd name="connsiteX46" fmla="*/ 3858031 w 14997669"/>
              <a:gd name="connsiteY46" fmla="*/ 4849541 h 8457535"/>
              <a:gd name="connsiteX47" fmla="*/ 4333962 w 14997669"/>
              <a:gd name="connsiteY47" fmla="*/ 4088202 h 8457535"/>
              <a:gd name="connsiteX48" fmla="*/ 4338005 w 14997669"/>
              <a:gd name="connsiteY48" fmla="*/ 3495657 h 8457535"/>
              <a:gd name="connsiteX49" fmla="*/ 4609640 w 14997669"/>
              <a:gd name="connsiteY49" fmla="*/ 3039435 h 8457535"/>
              <a:gd name="connsiteX50" fmla="*/ 4993215 w 14997669"/>
              <a:gd name="connsiteY50" fmla="*/ 3037919 h 8457535"/>
              <a:gd name="connsiteX51" fmla="*/ 5266368 w 14997669"/>
              <a:gd name="connsiteY51" fmla="*/ 2577022 h 8457535"/>
              <a:gd name="connsiteX52" fmla="*/ 4580708 w 14997669"/>
              <a:gd name="connsiteY52" fmla="*/ 2574495 h 8457535"/>
              <a:gd name="connsiteX53" fmla="*/ 4221770 w 14997669"/>
              <a:gd name="connsiteY53" fmla="*/ 1986246 h 8457535"/>
              <a:gd name="connsiteX54" fmla="*/ 4236046 w 14997669"/>
              <a:gd name="connsiteY54" fmla="*/ 1605703 h 8457535"/>
              <a:gd name="connsiteX55" fmla="*/ 3906293 w 14997669"/>
              <a:gd name="connsiteY55" fmla="*/ 1121685 h 8457535"/>
              <a:gd name="connsiteX56" fmla="*/ 3097703 w 14997669"/>
              <a:gd name="connsiteY56" fmla="*/ 1117264 h 8457535"/>
              <a:gd name="connsiteX57" fmla="*/ 2847797 w 14997669"/>
              <a:gd name="connsiteY57" fmla="*/ 1555419 h 8457535"/>
              <a:gd name="connsiteX58" fmla="*/ 1932069 w 14997669"/>
              <a:gd name="connsiteY58" fmla="*/ 1555419 h 8457535"/>
              <a:gd name="connsiteX59" fmla="*/ 1706927 w 14997669"/>
              <a:gd name="connsiteY59" fmla="*/ 1135583 h 8457535"/>
              <a:gd name="connsiteX60" fmla="*/ 1368961 w 14997669"/>
              <a:gd name="connsiteY60" fmla="*/ 1135583 h 8457535"/>
              <a:gd name="connsiteX61" fmla="*/ 1018740 w 14997669"/>
              <a:gd name="connsiteY61" fmla="*/ 1799764 h 8457535"/>
              <a:gd name="connsiteX62" fmla="*/ 1025690 w 14997669"/>
              <a:gd name="connsiteY62" fmla="*/ 2132172 h 8457535"/>
              <a:gd name="connsiteX63" fmla="*/ 1095177 w 14997669"/>
              <a:gd name="connsiteY63" fmla="*/ 2224148 h 8457535"/>
              <a:gd name="connsiteX64" fmla="*/ 1206484 w 14997669"/>
              <a:gd name="connsiteY64" fmla="*/ 2222253 h 8457535"/>
              <a:gd name="connsiteX65" fmla="*/ 1302758 w 14997669"/>
              <a:gd name="connsiteY65" fmla="*/ 2140889 h 8457535"/>
              <a:gd name="connsiteX66" fmla="*/ 3350640 w 14997669"/>
              <a:gd name="connsiteY66" fmla="*/ 2142279 h 8457535"/>
              <a:gd name="connsiteX67" fmla="*/ 3551397 w 14997669"/>
              <a:gd name="connsiteY67" fmla="*/ 1748848 h 8457535"/>
              <a:gd name="connsiteX68" fmla="*/ 3584500 w 14997669"/>
              <a:gd name="connsiteY68" fmla="*/ 1748848 h 8457535"/>
              <a:gd name="connsiteX69" fmla="*/ 3647671 w 14997669"/>
              <a:gd name="connsiteY69" fmla="*/ 1831982 h 8457535"/>
              <a:gd name="connsiteX70" fmla="*/ 3647671 w 14997669"/>
              <a:gd name="connsiteY70" fmla="*/ 2249795 h 8457535"/>
              <a:gd name="connsiteX71" fmla="*/ 4031246 w 14997669"/>
              <a:gd name="connsiteY71" fmla="*/ 2893131 h 8457535"/>
              <a:gd name="connsiteX72" fmla="*/ 3752662 w 14997669"/>
              <a:gd name="connsiteY72" fmla="*/ 3310944 h 8457535"/>
              <a:gd name="connsiteX73" fmla="*/ 3744954 w 14997669"/>
              <a:gd name="connsiteY73" fmla="*/ 3934949 h 8457535"/>
              <a:gd name="connsiteX74" fmla="*/ 3622656 w 14997669"/>
              <a:gd name="connsiteY74" fmla="*/ 4120293 h 8457535"/>
              <a:gd name="connsiteX75" fmla="*/ 3511979 w 14997669"/>
              <a:gd name="connsiteY75" fmla="*/ 3934444 h 8457535"/>
              <a:gd name="connsiteX76" fmla="*/ 3511979 w 14997669"/>
              <a:gd name="connsiteY76" fmla="*/ 3555417 h 8457535"/>
              <a:gd name="connsiteX77" fmla="*/ 3374140 w 14997669"/>
              <a:gd name="connsiteY77" fmla="*/ 3329643 h 8457535"/>
              <a:gd name="connsiteX78" fmla="*/ 3374140 w 14997669"/>
              <a:gd name="connsiteY78" fmla="*/ 2800143 h 8457535"/>
              <a:gd name="connsiteX79" fmla="*/ 3209895 w 14997669"/>
              <a:gd name="connsiteY79" fmla="*/ 2522190 h 8457535"/>
              <a:gd name="connsiteX80" fmla="*/ 3381846 w 14997669"/>
              <a:gd name="connsiteY80" fmla="*/ 2522190 h 8457535"/>
              <a:gd name="connsiteX81" fmla="*/ 3599535 w 14997669"/>
              <a:gd name="connsiteY81" fmla="*/ 2864451 h 8457535"/>
              <a:gd name="connsiteX82" fmla="*/ 3432635 w 14997669"/>
              <a:gd name="connsiteY82" fmla="*/ 3117136 h 8457535"/>
              <a:gd name="connsiteX83" fmla="*/ 3432635 w 14997669"/>
              <a:gd name="connsiteY83" fmla="*/ 3241582 h 8457535"/>
              <a:gd name="connsiteX84" fmla="*/ 3647417 w 14997669"/>
              <a:gd name="connsiteY84" fmla="*/ 3241582 h 8457535"/>
              <a:gd name="connsiteX85" fmla="*/ 3647417 w 14997669"/>
              <a:gd name="connsiteY85" fmla="*/ 3181823 h 8457535"/>
              <a:gd name="connsiteX86" fmla="*/ 3855503 w 14997669"/>
              <a:gd name="connsiteY86" fmla="*/ 2867483 h 8457535"/>
              <a:gd name="connsiteX87" fmla="*/ 3499724 w 14997669"/>
              <a:gd name="connsiteY87" fmla="*/ 2308040 h 8457535"/>
              <a:gd name="connsiteX88" fmla="*/ 2833395 w 14997669"/>
              <a:gd name="connsiteY88" fmla="*/ 2308040 h 8457535"/>
              <a:gd name="connsiteX89" fmla="*/ 3158727 w 14997669"/>
              <a:gd name="connsiteY89" fmla="*/ 2859018 h 8457535"/>
              <a:gd name="connsiteX90" fmla="*/ 3158727 w 14997669"/>
              <a:gd name="connsiteY90" fmla="*/ 3389656 h 8457535"/>
              <a:gd name="connsiteX91" fmla="*/ 3296565 w 14997669"/>
              <a:gd name="connsiteY91" fmla="*/ 3615430 h 8457535"/>
              <a:gd name="connsiteX92" fmla="*/ 3296565 w 14997669"/>
              <a:gd name="connsiteY92" fmla="*/ 3992561 h 8457535"/>
              <a:gd name="connsiteX93" fmla="*/ 3612421 w 14997669"/>
              <a:gd name="connsiteY93" fmla="*/ 4522314 h 8457535"/>
              <a:gd name="connsiteX94" fmla="*/ 3958978 w 14997669"/>
              <a:gd name="connsiteY94" fmla="*/ 4000521 h 8457535"/>
              <a:gd name="connsiteX95" fmla="*/ 3966558 w 14997669"/>
              <a:gd name="connsiteY95" fmla="*/ 3376769 h 8457535"/>
              <a:gd name="connsiteX96" fmla="*/ 4285067 w 14997669"/>
              <a:gd name="connsiteY96" fmla="*/ 2898942 h 8457535"/>
              <a:gd name="connsiteX97" fmla="*/ 3862452 w 14997669"/>
              <a:gd name="connsiteY97" fmla="*/ 2190920 h 8457535"/>
              <a:gd name="connsiteX98" fmla="*/ 3862452 w 14997669"/>
              <a:gd name="connsiteY98" fmla="*/ 1760094 h 8457535"/>
              <a:gd name="connsiteX99" fmla="*/ 3691258 w 14997669"/>
              <a:gd name="connsiteY99" fmla="*/ 1534446 h 8457535"/>
              <a:gd name="connsiteX100" fmla="*/ 3420001 w 14997669"/>
              <a:gd name="connsiteY100" fmla="*/ 1534446 h 8457535"/>
              <a:gd name="connsiteX101" fmla="*/ 3219749 w 14997669"/>
              <a:gd name="connsiteY101" fmla="*/ 1927244 h 8457535"/>
              <a:gd name="connsiteX102" fmla="*/ 1236175 w 14997669"/>
              <a:gd name="connsiteY102" fmla="*/ 1926107 h 8457535"/>
              <a:gd name="connsiteX103" fmla="*/ 1234659 w 14997669"/>
              <a:gd name="connsiteY103" fmla="*/ 1850301 h 8457535"/>
              <a:gd name="connsiteX104" fmla="*/ 1497957 w 14997669"/>
              <a:gd name="connsiteY104" fmla="*/ 1349860 h 8457535"/>
              <a:gd name="connsiteX105" fmla="*/ 1578310 w 14997669"/>
              <a:gd name="connsiteY105" fmla="*/ 1349860 h 8457535"/>
              <a:gd name="connsiteX106" fmla="*/ 1803579 w 14997669"/>
              <a:gd name="connsiteY106" fmla="*/ 1769694 h 8457535"/>
              <a:gd name="connsiteX107" fmla="*/ 2972624 w 14997669"/>
              <a:gd name="connsiteY107" fmla="*/ 1769694 h 8457535"/>
              <a:gd name="connsiteX108" fmla="*/ 3222024 w 14997669"/>
              <a:gd name="connsiteY108" fmla="*/ 1332298 h 8457535"/>
              <a:gd name="connsiteX109" fmla="*/ 3792712 w 14997669"/>
              <a:gd name="connsiteY109" fmla="*/ 1335330 h 8457535"/>
              <a:gd name="connsiteX110" fmla="*/ 4019117 w 14997669"/>
              <a:gd name="connsiteY110" fmla="*/ 1667737 h 8457535"/>
              <a:gd name="connsiteX111" fmla="*/ 4005092 w 14997669"/>
              <a:gd name="connsiteY111" fmla="*/ 2042342 h 8457535"/>
              <a:gd name="connsiteX112" fmla="*/ 4459925 w 14997669"/>
              <a:gd name="connsiteY112" fmla="*/ 2788772 h 8457535"/>
              <a:gd name="connsiteX113" fmla="*/ 4890120 w 14997669"/>
              <a:gd name="connsiteY113" fmla="*/ 2790414 h 8457535"/>
              <a:gd name="connsiteX114" fmla="*/ 4870538 w 14997669"/>
              <a:gd name="connsiteY114" fmla="*/ 2823390 h 8457535"/>
              <a:gd name="connsiteX115" fmla="*/ 4487341 w 14997669"/>
              <a:gd name="connsiteY115" fmla="*/ 2824779 h 8457535"/>
              <a:gd name="connsiteX116" fmla="*/ 4123602 w 14997669"/>
              <a:gd name="connsiteY116" fmla="*/ 3435644 h 8457535"/>
              <a:gd name="connsiteX117" fmla="*/ 4119559 w 14997669"/>
              <a:gd name="connsiteY117" fmla="*/ 4025663 h 8457535"/>
              <a:gd name="connsiteX118" fmla="*/ 3643248 w 14997669"/>
              <a:gd name="connsiteY118" fmla="*/ 4787886 h 8457535"/>
              <a:gd name="connsiteX119" fmla="*/ 3643248 w 14997669"/>
              <a:gd name="connsiteY119" fmla="*/ 5035264 h 8457535"/>
              <a:gd name="connsiteX120" fmla="*/ 3603704 w 14997669"/>
              <a:gd name="connsiteY120" fmla="*/ 5100584 h 8457535"/>
              <a:gd name="connsiteX121" fmla="*/ 3511095 w 14997669"/>
              <a:gd name="connsiteY121" fmla="*/ 4979926 h 8457535"/>
              <a:gd name="connsiteX122" fmla="*/ 3511095 w 14997669"/>
              <a:gd name="connsiteY122" fmla="*/ 4646888 h 8457535"/>
              <a:gd name="connsiteX123" fmla="*/ 3176161 w 14997669"/>
              <a:gd name="connsiteY123" fmla="*/ 4086560 h 8457535"/>
              <a:gd name="connsiteX124" fmla="*/ 3176161 w 14997669"/>
              <a:gd name="connsiteY124" fmla="*/ 3759586 h 8457535"/>
              <a:gd name="connsiteX125" fmla="*/ 2989554 w 14997669"/>
              <a:gd name="connsiteY125" fmla="*/ 3439308 h 8457535"/>
              <a:gd name="connsiteX126" fmla="*/ 2989554 w 14997669"/>
              <a:gd name="connsiteY126" fmla="*/ 2902480 h 8457535"/>
              <a:gd name="connsiteX127" fmla="*/ 2668517 w 14997669"/>
              <a:gd name="connsiteY127" fmla="*/ 2317768 h 8457535"/>
              <a:gd name="connsiteX128" fmla="*/ 1388671 w 14997669"/>
              <a:gd name="connsiteY128" fmla="*/ 2317768 h 8457535"/>
              <a:gd name="connsiteX129" fmla="*/ 1251590 w 14997669"/>
              <a:gd name="connsiteY129" fmla="*/ 2496794 h 8457535"/>
              <a:gd name="connsiteX130" fmla="*/ 1089239 w 14997669"/>
              <a:gd name="connsiteY130" fmla="*/ 2496794 h 8457535"/>
              <a:gd name="connsiteX131" fmla="*/ 864224 w 14997669"/>
              <a:gd name="connsiteY131" fmla="*/ 2172347 h 8457535"/>
              <a:gd name="connsiteX132" fmla="*/ 854622 w 14997669"/>
              <a:gd name="connsiteY132" fmla="*/ 1715116 h 8457535"/>
              <a:gd name="connsiteX133" fmla="*/ 1276605 w 14997669"/>
              <a:gd name="connsiteY133" fmla="*/ 967422 h 8457535"/>
              <a:gd name="connsiteX134" fmla="*/ 1757842 w 14997669"/>
              <a:gd name="connsiteY134" fmla="*/ 967422 h 8457535"/>
              <a:gd name="connsiteX135" fmla="*/ 2026952 w 14997669"/>
              <a:gd name="connsiteY135" fmla="*/ 1427433 h 8457535"/>
              <a:gd name="connsiteX136" fmla="*/ 2781594 w 14997669"/>
              <a:gd name="connsiteY136" fmla="*/ 1427433 h 8457535"/>
              <a:gd name="connsiteX137" fmla="*/ 3026698 w 14997669"/>
              <a:gd name="connsiteY137" fmla="*/ 980056 h 8457535"/>
              <a:gd name="connsiteX138" fmla="*/ 3941796 w 14997669"/>
              <a:gd name="connsiteY138" fmla="*/ 980056 h 8457535"/>
              <a:gd name="connsiteX139" fmla="*/ 4351524 w 14997669"/>
              <a:gd name="connsiteY139" fmla="*/ 1546195 h 8457535"/>
              <a:gd name="connsiteX140" fmla="*/ 4350891 w 14997669"/>
              <a:gd name="connsiteY140" fmla="*/ 1966410 h 8457535"/>
              <a:gd name="connsiteX141" fmla="*/ 4653102 w 14997669"/>
              <a:gd name="connsiteY141" fmla="*/ 2485677 h 8457535"/>
              <a:gd name="connsiteX142" fmla="*/ 5432888 w 14997669"/>
              <a:gd name="connsiteY142" fmla="*/ 2485677 h 8457535"/>
              <a:gd name="connsiteX143" fmla="*/ 5065483 w 14997669"/>
              <a:gd name="connsiteY143" fmla="*/ 3128254 h 8457535"/>
              <a:gd name="connsiteX144" fmla="*/ 4771358 w 14997669"/>
              <a:gd name="connsiteY144" fmla="*/ 3125096 h 8457535"/>
              <a:gd name="connsiteX145" fmla="*/ 4474201 w 14997669"/>
              <a:gd name="connsiteY145" fmla="*/ 3593825 h 8457535"/>
              <a:gd name="connsiteX146" fmla="*/ 4474201 w 14997669"/>
              <a:gd name="connsiteY146" fmla="*/ 4132169 h 8457535"/>
              <a:gd name="connsiteX147" fmla="*/ 3962136 w 14997669"/>
              <a:gd name="connsiteY147" fmla="*/ 4934822 h 8457535"/>
              <a:gd name="connsiteX148" fmla="*/ 3962136 w 14997669"/>
              <a:gd name="connsiteY148" fmla="*/ 5224651 h 8457535"/>
              <a:gd name="connsiteX149" fmla="*/ 3780330 w 14997669"/>
              <a:gd name="connsiteY149" fmla="*/ 5527115 h 8457535"/>
              <a:gd name="connsiteX150" fmla="*/ 3430993 w 14997669"/>
              <a:gd name="connsiteY150" fmla="*/ 5524968 h 8457535"/>
              <a:gd name="connsiteX151" fmla="*/ 3135478 w 14997669"/>
              <a:gd name="connsiteY151" fmla="*/ 5177146 h 8457535"/>
              <a:gd name="connsiteX152" fmla="*/ 3135478 w 14997669"/>
              <a:gd name="connsiteY152" fmla="*/ 4736844 h 8457535"/>
              <a:gd name="connsiteX153" fmla="*/ 2822908 w 14997669"/>
              <a:gd name="connsiteY153" fmla="*/ 4168304 h 8457535"/>
              <a:gd name="connsiteX154" fmla="*/ 2823919 w 14997669"/>
              <a:gd name="connsiteY154" fmla="*/ 3824021 h 8457535"/>
              <a:gd name="connsiteX155" fmla="*/ 2637817 w 14997669"/>
              <a:gd name="connsiteY155" fmla="*/ 3499952 h 8457535"/>
              <a:gd name="connsiteX156" fmla="*/ 2637817 w 14997669"/>
              <a:gd name="connsiteY156" fmla="*/ 2977022 h 8457535"/>
              <a:gd name="connsiteX157" fmla="*/ 2496060 w 14997669"/>
              <a:gd name="connsiteY157" fmla="*/ 2723453 h 8457535"/>
              <a:gd name="connsiteX158" fmla="*/ 1511222 w 14997669"/>
              <a:gd name="connsiteY158" fmla="*/ 2723453 h 8457535"/>
              <a:gd name="connsiteX159" fmla="*/ 1428974 w 14997669"/>
              <a:gd name="connsiteY159" fmla="*/ 2866093 h 8457535"/>
              <a:gd name="connsiteX160" fmla="*/ 878879 w 14997669"/>
              <a:gd name="connsiteY160" fmla="*/ 2866093 h 8457535"/>
              <a:gd name="connsiteX161" fmla="*/ 510719 w 14997669"/>
              <a:gd name="connsiteY161" fmla="*/ 2293763 h 8457535"/>
              <a:gd name="connsiteX162" fmla="*/ 510719 w 14997669"/>
              <a:gd name="connsiteY162" fmla="*/ 1596732 h 8457535"/>
              <a:gd name="connsiteX163" fmla="*/ 1097958 w 14997669"/>
              <a:gd name="connsiteY163" fmla="*/ 610379 h 8457535"/>
              <a:gd name="connsiteX164" fmla="*/ 1980710 w 14997669"/>
              <a:gd name="connsiteY164" fmla="*/ 610379 h 8457535"/>
              <a:gd name="connsiteX165" fmla="*/ 2214570 w 14997669"/>
              <a:gd name="connsiteY165" fmla="*/ 996481 h 8457535"/>
              <a:gd name="connsiteX166" fmla="*/ 2597134 w 14997669"/>
              <a:gd name="connsiteY166" fmla="*/ 993954 h 8457535"/>
              <a:gd name="connsiteX167" fmla="*/ 2807999 w 14997669"/>
              <a:gd name="connsiteY167" fmla="*/ 610379 h 8457535"/>
              <a:gd name="connsiteX168" fmla="*/ 9354804 w 14997669"/>
              <a:gd name="connsiteY168" fmla="*/ 610379 h 8457535"/>
              <a:gd name="connsiteX169" fmla="*/ 9354804 w 14997669"/>
              <a:gd name="connsiteY169" fmla="*/ 395597 h 8457535"/>
              <a:gd name="connsiteX170" fmla="*/ 2680900 w 14997669"/>
              <a:gd name="connsiteY170" fmla="*/ 395597 h 8457535"/>
              <a:gd name="connsiteX171" fmla="*/ 2469907 w 14997669"/>
              <a:gd name="connsiteY171" fmla="*/ 779930 h 8457535"/>
              <a:gd name="connsiteX172" fmla="*/ 2335353 w 14997669"/>
              <a:gd name="connsiteY172" fmla="*/ 780814 h 8457535"/>
              <a:gd name="connsiteX173" fmla="*/ 2101747 w 14997669"/>
              <a:gd name="connsiteY173" fmla="*/ 395597 h 8457535"/>
              <a:gd name="connsiteX174" fmla="*/ 975910 w 14997669"/>
              <a:gd name="connsiteY174" fmla="*/ 395597 h 8457535"/>
              <a:gd name="connsiteX175" fmla="*/ 0 w 14997669"/>
              <a:gd name="connsiteY175" fmla="*/ 3123 h 8457535"/>
              <a:gd name="connsiteX176" fmla="*/ 14997669 w 14997669"/>
              <a:gd name="connsiteY176" fmla="*/ 0 h 8457535"/>
              <a:gd name="connsiteX177" fmla="*/ 14993786 w 14997669"/>
              <a:gd name="connsiteY177" fmla="*/ 8448166 h 8457535"/>
              <a:gd name="connsiteX178" fmla="*/ 28106 w 14997669"/>
              <a:gd name="connsiteY178" fmla="*/ 8457535 h 8457535"/>
              <a:gd name="connsiteX179" fmla="*/ 0 w 14997669"/>
              <a:gd name="connsiteY179" fmla="*/ 3123 h 8457535"/>
              <a:gd name="connsiteX0" fmla="*/ 975910 w 15040657"/>
              <a:gd name="connsiteY0" fmla="*/ 395597 h 8479395"/>
              <a:gd name="connsiteX1" fmla="*/ 295937 w 15040657"/>
              <a:gd name="connsiteY1" fmla="*/ 1537604 h 8479395"/>
              <a:gd name="connsiteX2" fmla="*/ 295937 w 15040657"/>
              <a:gd name="connsiteY2" fmla="*/ 2356935 h 8479395"/>
              <a:gd name="connsiteX3" fmla="*/ 761887 w 15040657"/>
              <a:gd name="connsiteY3" fmla="*/ 3080749 h 8479395"/>
              <a:gd name="connsiteX4" fmla="*/ 1553042 w 15040657"/>
              <a:gd name="connsiteY4" fmla="*/ 3080749 h 8479395"/>
              <a:gd name="connsiteX5" fmla="*/ 1635417 w 15040657"/>
              <a:gd name="connsiteY5" fmla="*/ 2938109 h 8479395"/>
              <a:gd name="connsiteX6" fmla="*/ 2369844 w 15040657"/>
              <a:gd name="connsiteY6" fmla="*/ 2938109 h 8479395"/>
              <a:gd name="connsiteX7" fmla="*/ 2422782 w 15040657"/>
              <a:gd name="connsiteY7" fmla="*/ 3032865 h 8479395"/>
              <a:gd name="connsiteX8" fmla="*/ 2422782 w 15040657"/>
              <a:gd name="connsiteY8" fmla="*/ 3557186 h 8479395"/>
              <a:gd name="connsiteX9" fmla="*/ 2608758 w 15040657"/>
              <a:gd name="connsiteY9" fmla="*/ 3880875 h 8479395"/>
              <a:gd name="connsiteX10" fmla="*/ 2607747 w 15040657"/>
              <a:gd name="connsiteY10" fmla="*/ 4223009 h 8479395"/>
              <a:gd name="connsiteX11" fmla="*/ 2920445 w 15040657"/>
              <a:gd name="connsiteY11" fmla="*/ 4791550 h 8479395"/>
              <a:gd name="connsiteX12" fmla="*/ 2920445 w 15040657"/>
              <a:gd name="connsiteY12" fmla="*/ 5255478 h 8479395"/>
              <a:gd name="connsiteX13" fmla="*/ 3331310 w 15040657"/>
              <a:gd name="connsiteY13" fmla="*/ 5739117 h 8479395"/>
              <a:gd name="connsiteX14" fmla="*/ 3901618 w 15040657"/>
              <a:gd name="connsiteY14" fmla="*/ 5742654 h 8479395"/>
              <a:gd name="connsiteX15" fmla="*/ 4177171 w 15040657"/>
              <a:gd name="connsiteY15" fmla="*/ 5284285 h 8479395"/>
              <a:gd name="connsiteX16" fmla="*/ 4177171 w 15040657"/>
              <a:gd name="connsiteY16" fmla="*/ 4997488 h 8479395"/>
              <a:gd name="connsiteX17" fmla="*/ 4689236 w 15040657"/>
              <a:gd name="connsiteY17" fmla="*/ 4195214 h 8479395"/>
              <a:gd name="connsiteX18" fmla="*/ 4689236 w 15040657"/>
              <a:gd name="connsiteY18" fmla="*/ 3656996 h 8479395"/>
              <a:gd name="connsiteX19" fmla="*/ 4888983 w 15040657"/>
              <a:gd name="connsiteY19" fmla="*/ 3341140 h 8479395"/>
              <a:gd name="connsiteX20" fmla="*/ 5190309 w 15040657"/>
              <a:gd name="connsiteY20" fmla="*/ 3344678 h 8479395"/>
              <a:gd name="connsiteX21" fmla="*/ 5804081 w 15040657"/>
              <a:gd name="connsiteY21" fmla="*/ 2270769 h 8479395"/>
              <a:gd name="connsiteX22" fmla="*/ 4777423 w 15040657"/>
              <a:gd name="connsiteY22" fmla="*/ 2270769 h 8479395"/>
              <a:gd name="connsiteX23" fmla="*/ 4566558 w 15040657"/>
              <a:gd name="connsiteY23" fmla="*/ 1908419 h 8479395"/>
              <a:gd name="connsiteX24" fmla="*/ 4566558 w 15040657"/>
              <a:gd name="connsiteY24" fmla="*/ 1476708 h 8479395"/>
              <a:gd name="connsiteX25" fmla="*/ 4051840 w 15040657"/>
              <a:gd name="connsiteY25" fmla="*/ 765148 h 8479395"/>
              <a:gd name="connsiteX26" fmla="*/ 2899598 w 15040657"/>
              <a:gd name="connsiteY26" fmla="*/ 765148 h 8479395"/>
              <a:gd name="connsiteX27" fmla="*/ 2654494 w 15040657"/>
              <a:gd name="connsiteY27" fmla="*/ 1212526 h 8479395"/>
              <a:gd name="connsiteX28" fmla="*/ 2150388 w 15040657"/>
              <a:gd name="connsiteY28" fmla="*/ 1212526 h 8479395"/>
              <a:gd name="connsiteX29" fmla="*/ 1881280 w 15040657"/>
              <a:gd name="connsiteY29" fmla="*/ 752514 h 8479395"/>
              <a:gd name="connsiteX30" fmla="*/ 1151527 w 15040657"/>
              <a:gd name="connsiteY30" fmla="*/ 752514 h 8479395"/>
              <a:gd name="connsiteX31" fmla="*/ 638829 w 15040657"/>
              <a:gd name="connsiteY31" fmla="*/ 1660788 h 8479395"/>
              <a:gd name="connsiteX32" fmla="*/ 651463 w 15040657"/>
              <a:gd name="connsiteY32" fmla="*/ 2241963 h 8479395"/>
              <a:gd name="connsiteX33" fmla="*/ 976795 w 15040657"/>
              <a:gd name="connsiteY33" fmla="*/ 2711956 h 8479395"/>
              <a:gd name="connsiteX34" fmla="*/ 1357590 w 15040657"/>
              <a:gd name="connsiteY34" fmla="*/ 2711956 h 8479395"/>
              <a:gd name="connsiteX35" fmla="*/ 1494798 w 15040657"/>
              <a:gd name="connsiteY35" fmla="*/ 2532550 h 8479395"/>
              <a:gd name="connsiteX36" fmla="*/ 2541418 w 15040657"/>
              <a:gd name="connsiteY36" fmla="*/ 2532550 h 8479395"/>
              <a:gd name="connsiteX37" fmla="*/ 2775150 w 15040657"/>
              <a:gd name="connsiteY37" fmla="*/ 2957691 h 8479395"/>
              <a:gd name="connsiteX38" fmla="*/ 2775150 w 15040657"/>
              <a:gd name="connsiteY38" fmla="*/ 3497425 h 8479395"/>
              <a:gd name="connsiteX39" fmla="*/ 2961759 w 15040657"/>
              <a:gd name="connsiteY39" fmla="*/ 3817703 h 8479395"/>
              <a:gd name="connsiteX40" fmla="*/ 2961759 w 15040657"/>
              <a:gd name="connsiteY40" fmla="*/ 4145436 h 8479395"/>
              <a:gd name="connsiteX41" fmla="*/ 3296691 w 15040657"/>
              <a:gd name="connsiteY41" fmla="*/ 4705637 h 8479395"/>
              <a:gd name="connsiteX42" fmla="*/ 3296691 w 15040657"/>
              <a:gd name="connsiteY42" fmla="*/ 5052194 h 8479395"/>
              <a:gd name="connsiteX43" fmla="*/ 3519433 w 15040657"/>
              <a:gd name="connsiteY43" fmla="*/ 5342781 h 8479395"/>
              <a:gd name="connsiteX44" fmla="*/ 3707936 w 15040657"/>
              <a:gd name="connsiteY44" fmla="*/ 5342781 h 8479395"/>
              <a:gd name="connsiteX45" fmla="*/ 3858031 w 15040657"/>
              <a:gd name="connsiteY45" fmla="*/ 5094771 h 8479395"/>
              <a:gd name="connsiteX46" fmla="*/ 3858031 w 15040657"/>
              <a:gd name="connsiteY46" fmla="*/ 4849541 h 8479395"/>
              <a:gd name="connsiteX47" fmla="*/ 4333962 w 15040657"/>
              <a:gd name="connsiteY47" fmla="*/ 4088202 h 8479395"/>
              <a:gd name="connsiteX48" fmla="*/ 4338005 w 15040657"/>
              <a:gd name="connsiteY48" fmla="*/ 3495657 h 8479395"/>
              <a:gd name="connsiteX49" fmla="*/ 4609640 w 15040657"/>
              <a:gd name="connsiteY49" fmla="*/ 3039435 h 8479395"/>
              <a:gd name="connsiteX50" fmla="*/ 4993215 w 15040657"/>
              <a:gd name="connsiteY50" fmla="*/ 3037919 h 8479395"/>
              <a:gd name="connsiteX51" fmla="*/ 5266368 w 15040657"/>
              <a:gd name="connsiteY51" fmla="*/ 2577022 h 8479395"/>
              <a:gd name="connsiteX52" fmla="*/ 4580708 w 15040657"/>
              <a:gd name="connsiteY52" fmla="*/ 2574495 h 8479395"/>
              <a:gd name="connsiteX53" fmla="*/ 4221770 w 15040657"/>
              <a:gd name="connsiteY53" fmla="*/ 1986246 h 8479395"/>
              <a:gd name="connsiteX54" fmla="*/ 4236046 w 15040657"/>
              <a:gd name="connsiteY54" fmla="*/ 1605703 h 8479395"/>
              <a:gd name="connsiteX55" fmla="*/ 3906293 w 15040657"/>
              <a:gd name="connsiteY55" fmla="*/ 1121685 h 8479395"/>
              <a:gd name="connsiteX56" fmla="*/ 3097703 w 15040657"/>
              <a:gd name="connsiteY56" fmla="*/ 1117264 h 8479395"/>
              <a:gd name="connsiteX57" fmla="*/ 2847797 w 15040657"/>
              <a:gd name="connsiteY57" fmla="*/ 1555419 h 8479395"/>
              <a:gd name="connsiteX58" fmla="*/ 1932069 w 15040657"/>
              <a:gd name="connsiteY58" fmla="*/ 1555419 h 8479395"/>
              <a:gd name="connsiteX59" fmla="*/ 1706927 w 15040657"/>
              <a:gd name="connsiteY59" fmla="*/ 1135583 h 8479395"/>
              <a:gd name="connsiteX60" fmla="*/ 1368961 w 15040657"/>
              <a:gd name="connsiteY60" fmla="*/ 1135583 h 8479395"/>
              <a:gd name="connsiteX61" fmla="*/ 1018740 w 15040657"/>
              <a:gd name="connsiteY61" fmla="*/ 1799764 h 8479395"/>
              <a:gd name="connsiteX62" fmla="*/ 1025690 w 15040657"/>
              <a:gd name="connsiteY62" fmla="*/ 2132172 h 8479395"/>
              <a:gd name="connsiteX63" fmla="*/ 1095177 w 15040657"/>
              <a:gd name="connsiteY63" fmla="*/ 2224148 h 8479395"/>
              <a:gd name="connsiteX64" fmla="*/ 1206484 w 15040657"/>
              <a:gd name="connsiteY64" fmla="*/ 2222253 h 8479395"/>
              <a:gd name="connsiteX65" fmla="*/ 1302758 w 15040657"/>
              <a:gd name="connsiteY65" fmla="*/ 2140889 h 8479395"/>
              <a:gd name="connsiteX66" fmla="*/ 3350640 w 15040657"/>
              <a:gd name="connsiteY66" fmla="*/ 2142279 h 8479395"/>
              <a:gd name="connsiteX67" fmla="*/ 3551397 w 15040657"/>
              <a:gd name="connsiteY67" fmla="*/ 1748848 h 8479395"/>
              <a:gd name="connsiteX68" fmla="*/ 3584500 w 15040657"/>
              <a:gd name="connsiteY68" fmla="*/ 1748848 h 8479395"/>
              <a:gd name="connsiteX69" fmla="*/ 3647671 w 15040657"/>
              <a:gd name="connsiteY69" fmla="*/ 1831982 h 8479395"/>
              <a:gd name="connsiteX70" fmla="*/ 3647671 w 15040657"/>
              <a:gd name="connsiteY70" fmla="*/ 2249795 h 8479395"/>
              <a:gd name="connsiteX71" fmla="*/ 4031246 w 15040657"/>
              <a:gd name="connsiteY71" fmla="*/ 2893131 h 8479395"/>
              <a:gd name="connsiteX72" fmla="*/ 3752662 w 15040657"/>
              <a:gd name="connsiteY72" fmla="*/ 3310944 h 8479395"/>
              <a:gd name="connsiteX73" fmla="*/ 3744954 w 15040657"/>
              <a:gd name="connsiteY73" fmla="*/ 3934949 h 8479395"/>
              <a:gd name="connsiteX74" fmla="*/ 3622656 w 15040657"/>
              <a:gd name="connsiteY74" fmla="*/ 4120293 h 8479395"/>
              <a:gd name="connsiteX75" fmla="*/ 3511979 w 15040657"/>
              <a:gd name="connsiteY75" fmla="*/ 3934444 h 8479395"/>
              <a:gd name="connsiteX76" fmla="*/ 3511979 w 15040657"/>
              <a:gd name="connsiteY76" fmla="*/ 3555417 h 8479395"/>
              <a:gd name="connsiteX77" fmla="*/ 3374140 w 15040657"/>
              <a:gd name="connsiteY77" fmla="*/ 3329643 h 8479395"/>
              <a:gd name="connsiteX78" fmla="*/ 3374140 w 15040657"/>
              <a:gd name="connsiteY78" fmla="*/ 2800143 h 8479395"/>
              <a:gd name="connsiteX79" fmla="*/ 3209895 w 15040657"/>
              <a:gd name="connsiteY79" fmla="*/ 2522190 h 8479395"/>
              <a:gd name="connsiteX80" fmla="*/ 3381846 w 15040657"/>
              <a:gd name="connsiteY80" fmla="*/ 2522190 h 8479395"/>
              <a:gd name="connsiteX81" fmla="*/ 3599535 w 15040657"/>
              <a:gd name="connsiteY81" fmla="*/ 2864451 h 8479395"/>
              <a:gd name="connsiteX82" fmla="*/ 3432635 w 15040657"/>
              <a:gd name="connsiteY82" fmla="*/ 3117136 h 8479395"/>
              <a:gd name="connsiteX83" fmla="*/ 3432635 w 15040657"/>
              <a:gd name="connsiteY83" fmla="*/ 3241582 h 8479395"/>
              <a:gd name="connsiteX84" fmla="*/ 3647417 w 15040657"/>
              <a:gd name="connsiteY84" fmla="*/ 3241582 h 8479395"/>
              <a:gd name="connsiteX85" fmla="*/ 3647417 w 15040657"/>
              <a:gd name="connsiteY85" fmla="*/ 3181823 h 8479395"/>
              <a:gd name="connsiteX86" fmla="*/ 3855503 w 15040657"/>
              <a:gd name="connsiteY86" fmla="*/ 2867483 h 8479395"/>
              <a:gd name="connsiteX87" fmla="*/ 3499724 w 15040657"/>
              <a:gd name="connsiteY87" fmla="*/ 2308040 h 8479395"/>
              <a:gd name="connsiteX88" fmla="*/ 2833395 w 15040657"/>
              <a:gd name="connsiteY88" fmla="*/ 2308040 h 8479395"/>
              <a:gd name="connsiteX89" fmla="*/ 3158727 w 15040657"/>
              <a:gd name="connsiteY89" fmla="*/ 2859018 h 8479395"/>
              <a:gd name="connsiteX90" fmla="*/ 3158727 w 15040657"/>
              <a:gd name="connsiteY90" fmla="*/ 3389656 h 8479395"/>
              <a:gd name="connsiteX91" fmla="*/ 3296565 w 15040657"/>
              <a:gd name="connsiteY91" fmla="*/ 3615430 h 8479395"/>
              <a:gd name="connsiteX92" fmla="*/ 3296565 w 15040657"/>
              <a:gd name="connsiteY92" fmla="*/ 3992561 h 8479395"/>
              <a:gd name="connsiteX93" fmla="*/ 3612421 w 15040657"/>
              <a:gd name="connsiteY93" fmla="*/ 4522314 h 8479395"/>
              <a:gd name="connsiteX94" fmla="*/ 3958978 w 15040657"/>
              <a:gd name="connsiteY94" fmla="*/ 4000521 h 8479395"/>
              <a:gd name="connsiteX95" fmla="*/ 3966558 w 15040657"/>
              <a:gd name="connsiteY95" fmla="*/ 3376769 h 8479395"/>
              <a:gd name="connsiteX96" fmla="*/ 4285067 w 15040657"/>
              <a:gd name="connsiteY96" fmla="*/ 2898942 h 8479395"/>
              <a:gd name="connsiteX97" fmla="*/ 3862452 w 15040657"/>
              <a:gd name="connsiteY97" fmla="*/ 2190920 h 8479395"/>
              <a:gd name="connsiteX98" fmla="*/ 3862452 w 15040657"/>
              <a:gd name="connsiteY98" fmla="*/ 1760094 h 8479395"/>
              <a:gd name="connsiteX99" fmla="*/ 3691258 w 15040657"/>
              <a:gd name="connsiteY99" fmla="*/ 1534446 h 8479395"/>
              <a:gd name="connsiteX100" fmla="*/ 3420001 w 15040657"/>
              <a:gd name="connsiteY100" fmla="*/ 1534446 h 8479395"/>
              <a:gd name="connsiteX101" fmla="*/ 3219749 w 15040657"/>
              <a:gd name="connsiteY101" fmla="*/ 1927244 h 8479395"/>
              <a:gd name="connsiteX102" fmla="*/ 1236175 w 15040657"/>
              <a:gd name="connsiteY102" fmla="*/ 1926107 h 8479395"/>
              <a:gd name="connsiteX103" fmla="*/ 1234659 w 15040657"/>
              <a:gd name="connsiteY103" fmla="*/ 1850301 h 8479395"/>
              <a:gd name="connsiteX104" fmla="*/ 1497957 w 15040657"/>
              <a:gd name="connsiteY104" fmla="*/ 1349860 h 8479395"/>
              <a:gd name="connsiteX105" fmla="*/ 1578310 w 15040657"/>
              <a:gd name="connsiteY105" fmla="*/ 1349860 h 8479395"/>
              <a:gd name="connsiteX106" fmla="*/ 1803579 w 15040657"/>
              <a:gd name="connsiteY106" fmla="*/ 1769694 h 8479395"/>
              <a:gd name="connsiteX107" fmla="*/ 2972624 w 15040657"/>
              <a:gd name="connsiteY107" fmla="*/ 1769694 h 8479395"/>
              <a:gd name="connsiteX108" fmla="*/ 3222024 w 15040657"/>
              <a:gd name="connsiteY108" fmla="*/ 1332298 h 8479395"/>
              <a:gd name="connsiteX109" fmla="*/ 3792712 w 15040657"/>
              <a:gd name="connsiteY109" fmla="*/ 1335330 h 8479395"/>
              <a:gd name="connsiteX110" fmla="*/ 4019117 w 15040657"/>
              <a:gd name="connsiteY110" fmla="*/ 1667737 h 8479395"/>
              <a:gd name="connsiteX111" fmla="*/ 4005092 w 15040657"/>
              <a:gd name="connsiteY111" fmla="*/ 2042342 h 8479395"/>
              <a:gd name="connsiteX112" fmla="*/ 4459925 w 15040657"/>
              <a:gd name="connsiteY112" fmla="*/ 2788772 h 8479395"/>
              <a:gd name="connsiteX113" fmla="*/ 4890120 w 15040657"/>
              <a:gd name="connsiteY113" fmla="*/ 2790414 h 8479395"/>
              <a:gd name="connsiteX114" fmla="*/ 4870538 w 15040657"/>
              <a:gd name="connsiteY114" fmla="*/ 2823390 h 8479395"/>
              <a:gd name="connsiteX115" fmla="*/ 4487341 w 15040657"/>
              <a:gd name="connsiteY115" fmla="*/ 2824779 h 8479395"/>
              <a:gd name="connsiteX116" fmla="*/ 4123602 w 15040657"/>
              <a:gd name="connsiteY116" fmla="*/ 3435644 h 8479395"/>
              <a:gd name="connsiteX117" fmla="*/ 4119559 w 15040657"/>
              <a:gd name="connsiteY117" fmla="*/ 4025663 h 8479395"/>
              <a:gd name="connsiteX118" fmla="*/ 3643248 w 15040657"/>
              <a:gd name="connsiteY118" fmla="*/ 4787886 h 8479395"/>
              <a:gd name="connsiteX119" fmla="*/ 3643248 w 15040657"/>
              <a:gd name="connsiteY119" fmla="*/ 5035264 h 8479395"/>
              <a:gd name="connsiteX120" fmla="*/ 3603704 w 15040657"/>
              <a:gd name="connsiteY120" fmla="*/ 5100584 h 8479395"/>
              <a:gd name="connsiteX121" fmla="*/ 3511095 w 15040657"/>
              <a:gd name="connsiteY121" fmla="*/ 4979926 h 8479395"/>
              <a:gd name="connsiteX122" fmla="*/ 3511095 w 15040657"/>
              <a:gd name="connsiteY122" fmla="*/ 4646888 h 8479395"/>
              <a:gd name="connsiteX123" fmla="*/ 3176161 w 15040657"/>
              <a:gd name="connsiteY123" fmla="*/ 4086560 h 8479395"/>
              <a:gd name="connsiteX124" fmla="*/ 3176161 w 15040657"/>
              <a:gd name="connsiteY124" fmla="*/ 3759586 h 8479395"/>
              <a:gd name="connsiteX125" fmla="*/ 2989554 w 15040657"/>
              <a:gd name="connsiteY125" fmla="*/ 3439308 h 8479395"/>
              <a:gd name="connsiteX126" fmla="*/ 2989554 w 15040657"/>
              <a:gd name="connsiteY126" fmla="*/ 2902480 h 8479395"/>
              <a:gd name="connsiteX127" fmla="*/ 2668517 w 15040657"/>
              <a:gd name="connsiteY127" fmla="*/ 2317768 h 8479395"/>
              <a:gd name="connsiteX128" fmla="*/ 1388671 w 15040657"/>
              <a:gd name="connsiteY128" fmla="*/ 2317768 h 8479395"/>
              <a:gd name="connsiteX129" fmla="*/ 1251590 w 15040657"/>
              <a:gd name="connsiteY129" fmla="*/ 2496794 h 8479395"/>
              <a:gd name="connsiteX130" fmla="*/ 1089239 w 15040657"/>
              <a:gd name="connsiteY130" fmla="*/ 2496794 h 8479395"/>
              <a:gd name="connsiteX131" fmla="*/ 864224 w 15040657"/>
              <a:gd name="connsiteY131" fmla="*/ 2172347 h 8479395"/>
              <a:gd name="connsiteX132" fmla="*/ 854622 w 15040657"/>
              <a:gd name="connsiteY132" fmla="*/ 1715116 h 8479395"/>
              <a:gd name="connsiteX133" fmla="*/ 1276605 w 15040657"/>
              <a:gd name="connsiteY133" fmla="*/ 967422 h 8479395"/>
              <a:gd name="connsiteX134" fmla="*/ 1757842 w 15040657"/>
              <a:gd name="connsiteY134" fmla="*/ 967422 h 8479395"/>
              <a:gd name="connsiteX135" fmla="*/ 2026952 w 15040657"/>
              <a:gd name="connsiteY135" fmla="*/ 1427433 h 8479395"/>
              <a:gd name="connsiteX136" fmla="*/ 2781594 w 15040657"/>
              <a:gd name="connsiteY136" fmla="*/ 1427433 h 8479395"/>
              <a:gd name="connsiteX137" fmla="*/ 3026698 w 15040657"/>
              <a:gd name="connsiteY137" fmla="*/ 980056 h 8479395"/>
              <a:gd name="connsiteX138" fmla="*/ 3941796 w 15040657"/>
              <a:gd name="connsiteY138" fmla="*/ 980056 h 8479395"/>
              <a:gd name="connsiteX139" fmla="*/ 4351524 w 15040657"/>
              <a:gd name="connsiteY139" fmla="*/ 1546195 h 8479395"/>
              <a:gd name="connsiteX140" fmla="*/ 4350891 w 15040657"/>
              <a:gd name="connsiteY140" fmla="*/ 1966410 h 8479395"/>
              <a:gd name="connsiteX141" fmla="*/ 4653102 w 15040657"/>
              <a:gd name="connsiteY141" fmla="*/ 2485677 h 8479395"/>
              <a:gd name="connsiteX142" fmla="*/ 5432888 w 15040657"/>
              <a:gd name="connsiteY142" fmla="*/ 2485677 h 8479395"/>
              <a:gd name="connsiteX143" fmla="*/ 5065483 w 15040657"/>
              <a:gd name="connsiteY143" fmla="*/ 3128254 h 8479395"/>
              <a:gd name="connsiteX144" fmla="*/ 4771358 w 15040657"/>
              <a:gd name="connsiteY144" fmla="*/ 3125096 h 8479395"/>
              <a:gd name="connsiteX145" fmla="*/ 4474201 w 15040657"/>
              <a:gd name="connsiteY145" fmla="*/ 3593825 h 8479395"/>
              <a:gd name="connsiteX146" fmla="*/ 4474201 w 15040657"/>
              <a:gd name="connsiteY146" fmla="*/ 4132169 h 8479395"/>
              <a:gd name="connsiteX147" fmla="*/ 3962136 w 15040657"/>
              <a:gd name="connsiteY147" fmla="*/ 4934822 h 8479395"/>
              <a:gd name="connsiteX148" fmla="*/ 3962136 w 15040657"/>
              <a:gd name="connsiteY148" fmla="*/ 5224651 h 8479395"/>
              <a:gd name="connsiteX149" fmla="*/ 3780330 w 15040657"/>
              <a:gd name="connsiteY149" fmla="*/ 5527115 h 8479395"/>
              <a:gd name="connsiteX150" fmla="*/ 3430993 w 15040657"/>
              <a:gd name="connsiteY150" fmla="*/ 5524968 h 8479395"/>
              <a:gd name="connsiteX151" fmla="*/ 3135478 w 15040657"/>
              <a:gd name="connsiteY151" fmla="*/ 5177146 h 8479395"/>
              <a:gd name="connsiteX152" fmla="*/ 3135478 w 15040657"/>
              <a:gd name="connsiteY152" fmla="*/ 4736844 h 8479395"/>
              <a:gd name="connsiteX153" fmla="*/ 2822908 w 15040657"/>
              <a:gd name="connsiteY153" fmla="*/ 4168304 h 8479395"/>
              <a:gd name="connsiteX154" fmla="*/ 2823919 w 15040657"/>
              <a:gd name="connsiteY154" fmla="*/ 3824021 h 8479395"/>
              <a:gd name="connsiteX155" fmla="*/ 2637817 w 15040657"/>
              <a:gd name="connsiteY155" fmla="*/ 3499952 h 8479395"/>
              <a:gd name="connsiteX156" fmla="*/ 2637817 w 15040657"/>
              <a:gd name="connsiteY156" fmla="*/ 2977022 h 8479395"/>
              <a:gd name="connsiteX157" fmla="*/ 2496060 w 15040657"/>
              <a:gd name="connsiteY157" fmla="*/ 2723453 h 8479395"/>
              <a:gd name="connsiteX158" fmla="*/ 1511222 w 15040657"/>
              <a:gd name="connsiteY158" fmla="*/ 2723453 h 8479395"/>
              <a:gd name="connsiteX159" fmla="*/ 1428974 w 15040657"/>
              <a:gd name="connsiteY159" fmla="*/ 2866093 h 8479395"/>
              <a:gd name="connsiteX160" fmla="*/ 878879 w 15040657"/>
              <a:gd name="connsiteY160" fmla="*/ 2866093 h 8479395"/>
              <a:gd name="connsiteX161" fmla="*/ 510719 w 15040657"/>
              <a:gd name="connsiteY161" fmla="*/ 2293763 h 8479395"/>
              <a:gd name="connsiteX162" fmla="*/ 510719 w 15040657"/>
              <a:gd name="connsiteY162" fmla="*/ 1596732 h 8479395"/>
              <a:gd name="connsiteX163" fmla="*/ 1097958 w 15040657"/>
              <a:gd name="connsiteY163" fmla="*/ 610379 h 8479395"/>
              <a:gd name="connsiteX164" fmla="*/ 1980710 w 15040657"/>
              <a:gd name="connsiteY164" fmla="*/ 610379 h 8479395"/>
              <a:gd name="connsiteX165" fmla="*/ 2214570 w 15040657"/>
              <a:gd name="connsiteY165" fmla="*/ 996481 h 8479395"/>
              <a:gd name="connsiteX166" fmla="*/ 2597134 w 15040657"/>
              <a:gd name="connsiteY166" fmla="*/ 993954 h 8479395"/>
              <a:gd name="connsiteX167" fmla="*/ 2807999 w 15040657"/>
              <a:gd name="connsiteY167" fmla="*/ 610379 h 8479395"/>
              <a:gd name="connsiteX168" fmla="*/ 9354804 w 15040657"/>
              <a:gd name="connsiteY168" fmla="*/ 610379 h 8479395"/>
              <a:gd name="connsiteX169" fmla="*/ 9354804 w 15040657"/>
              <a:gd name="connsiteY169" fmla="*/ 395597 h 8479395"/>
              <a:gd name="connsiteX170" fmla="*/ 2680900 w 15040657"/>
              <a:gd name="connsiteY170" fmla="*/ 395597 h 8479395"/>
              <a:gd name="connsiteX171" fmla="*/ 2469907 w 15040657"/>
              <a:gd name="connsiteY171" fmla="*/ 779930 h 8479395"/>
              <a:gd name="connsiteX172" fmla="*/ 2335353 w 15040657"/>
              <a:gd name="connsiteY172" fmla="*/ 780814 h 8479395"/>
              <a:gd name="connsiteX173" fmla="*/ 2101747 w 15040657"/>
              <a:gd name="connsiteY173" fmla="*/ 395597 h 8479395"/>
              <a:gd name="connsiteX174" fmla="*/ 975910 w 15040657"/>
              <a:gd name="connsiteY174" fmla="*/ 395597 h 8479395"/>
              <a:gd name="connsiteX175" fmla="*/ 0 w 15040657"/>
              <a:gd name="connsiteY175" fmla="*/ 3123 h 8479395"/>
              <a:gd name="connsiteX176" fmla="*/ 14997669 w 15040657"/>
              <a:gd name="connsiteY176" fmla="*/ 0 h 8479395"/>
              <a:gd name="connsiteX177" fmla="*/ 15040630 w 15040657"/>
              <a:gd name="connsiteY177" fmla="*/ 8479395 h 8479395"/>
              <a:gd name="connsiteX178" fmla="*/ 28106 w 15040657"/>
              <a:gd name="connsiteY178" fmla="*/ 8457535 h 8479395"/>
              <a:gd name="connsiteX179" fmla="*/ 0 w 15040657"/>
              <a:gd name="connsiteY179" fmla="*/ 3123 h 847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5040657" h="8479395">
                <a:moveTo>
                  <a:pt x="975910" y="395597"/>
                </a:moveTo>
                <a:lnTo>
                  <a:pt x="295937" y="1537604"/>
                </a:lnTo>
                <a:lnTo>
                  <a:pt x="295937" y="2356935"/>
                </a:lnTo>
                <a:lnTo>
                  <a:pt x="761887" y="3080749"/>
                </a:lnTo>
                <a:lnTo>
                  <a:pt x="1553042" y="3080749"/>
                </a:lnTo>
                <a:lnTo>
                  <a:pt x="1635417" y="2938109"/>
                </a:lnTo>
                <a:lnTo>
                  <a:pt x="2369844" y="2938109"/>
                </a:lnTo>
                <a:lnTo>
                  <a:pt x="2422782" y="3032865"/>
                </a:lnTo>
                <a:lnTo>
                  <a:pt x="2422782" y="3557186"/>
                </a:lnTo>
                <a:lnTo>
                  <a:pt x="2608758" y="3880875"/>
                </a:lnTo>
                <a:lnTo>
                  <a:pt x="2607747" y="4223009"/>
                </a:lnTo>
                <a:lnTo>
                  <a:pt x="2920445" y="4791550"/>
                </a:lnTo>
                <a:lnTo>
                  <a:pt x="2920445" y="5255478"/>
                </a:lnTo>
                <a:lnTo>
                  <a:pt x="3331310" y="5739117"/>
                </a:lnTo>
                <a:lnTo>
                  <a:pt x="3901618" y="5742654"/>
                </a:lnTo>
                <a:lnTo>
                  <a:pt x="4177171" y="5284285"/>
                </a:lnTo>
                <a:lnTo>
                  <a:pt x="4177171" y="4997488"/>
                </a:lnTo>
                <a:lnTo>
                  <a:pt x="4689236" y="4195214"/>
                </a:lnTo>
                <a:lnTo>
                  <a:pt x="4689236" y="3656996"/>
                </a:lnTo>
                <a:lnTo>
                  <a:pt x="4888983" y="3341140"/>
                </a:lnTo>
                <a:lnTo>
                  <a:pt x="5190309" y="3344678"/>
                </a:lnTo>
                <a:lnTo>
                  <a:pt x="5804081" y="2270769"/>
                </a:lnTo>
                <a:lnTo>
                  <a:pt x="4777423" y="2270769"/>
                </a:lnTo>
                <a:lnTo>
                  <a:pt x="4566558" y="1908419"/>
                </a:lnTo>
                <a:lnTo>
                  <a:pt x="4566558" y="1476708"/>
                </a:lnTo>
                <a:lnTo>
                  <a:pt x="4051840" y="765148"/>
                </a:lnTo>
                <a:lnTo>
                  <a:pt x="2899598" y="765148"/>
                </a:lnTo>
                <a:lnTo>
                  <a:pt x="2654494" y="1212526"/>
                </a:lnTo>
                <a:lnTo>
                  <a:pt x="2150388" y="1212526"/>
                </a:lnTo>
                <a:lnTo>
                  <a:pt x="1881280" y="752514"/>
                </a:lnTo>
                <a:lnTo>
                  <a:pt x="1151527" y="752514"/>
                </a:lnTo>
                <a:lnTo>
                  <a:pt x="638829" y="1660788"/>
                </a:lnTo>
                <a:lnTo>
                  <a:pt x="651463" y="2241963"/>
                </a:lnTo>
                <a:lnTo>
                  <a:pt x="976795" y="2711956"/>
                </a:lnTo>
                <a:lnTo>
                  <a:pt x="1357590" y="2711956"/>
                </a:lnTo>
                <a:lnTo>
                  <a:pt x="1494798" y="2532550"/>
                </a:lnTo>
                <a:lnTo>
                  <a:pt x="2541418" y="2532550"/>
                </a:lnTo>
                <a:lnTo>
                  <a:pt x="2775150" y="2957691"/>
                </a:lnTo>
                <a:lnTo>
                  <a:pt x="2775150" y="3497425"/>
                </a:lnTo>
                <a:lnTo>
                  <a:pt x="2961759" y="3817703"/>
                </a:lnTo>
                <a:lnTo>
                  <a:pt x="2961759" y="4145436"/>
                </a:lnTo>
                <a:lnTo>
                  <a:pt x="3296691" y="4705637"/>
                </a:lnTo>
                <a:lnTo>
                  <a:pt x="3296691" y="5052194"/>
                </a:lnTo>
                <a:lnTo>
                  <a:pt x="3519433" y="5342781"/>
                </a:lnTo>
                <a:lnTo>
                  <a:pt x="3707936" y="5342781"/>
                </a:lnTo>
                <a:lnTo>
                  <a:pt x="3858031" y="5094771"/>
                </a:lnTo>
                <a:lnTo>
                  <a:pt x="3858031" y="4849541"/>
                </a:lnTo>
                <a:lnTo>
                  <a:pt x="4333962" y="4088202"/>
                </a:lnTo>
                <a:cubicBezTo>
                  <a:pt x="4335310" y="3890687"/>
                  <a:pt x="4336657" y="3693172"/>
                  <a:pt x="4338005" y="3495657"/>
                </a:cubicBezTo>
                <a:lnTo>
                  <a:pt x="4609640" y="3039435"/>
                </a:lnTo>
                <a:lnTo>
                  <a:pt x="4993215" y="3037919"/>
                </a:lnTo>
                <a:lnTo>
                  <a:pt x="5266368" y="2577022"/>
                </a:lnTo>
                <a:lnTo>
                  <a:pt x="4580708" y="2574495"/>
                </a:lnTo>
                <a:lnTo>
                  <a:pt x="4221770" y="1986246"/>
                </a:lnTo>
                <a:lnTo>
                  <a:pt x="4236046" y="1605703"/>
                </a:lnTo>
                <a:lnTo>
                  <a:pt x="3906293" y="1121685"/>
                </a:lnTo>
                <a:lnTo>
                  <a:pt x="3097703" y="1117264"/>
                </a:lnTo>
                <a:lnTo>
                  <a:pt x="2847797" y="1555419"/>
                </a:lnTo>
                <a:lnTo>
                  <a:pt x="1932069" y="1555419"/>
                </a:lnTo>
                <a:lnTo>
                  <a:pt x="1706927" y="1135583"/>
                </a:lnTo>
                <a:lnTo>
                  <a:pt x="1368961" y="1135583"/>
                </a:lnTo>
                <a:lnTo>
                  <a:pt x="1018740" y="1799764"/>
                </a:lnTo>
                <a:lnTo>
                  <a:pt x="1025690" y="2132172"/>
                </a:lnTo>
                <a:lnTo>
                  <a:pt x="1095177" y="2224148"/>
                </a:lnTo>
                <a:lnTo>
                  <a:pt x="1206484" y="2222253"/>
                </a:lnTo>
                <a:lnTo>
                  <a:pt x="1302758" y="2140889"/>
                </a:lnTo>
                <a:lnTo>
                  <a:pt x="3350640" y="2142279"/>
                </a:lnTo>
                <a:lnTo>
                  <a:pt x="3551397" y="1748848"/>
                </a:lnTo>
                <a:lnTo>
                  <a:pt x="3584500" y="1748848"/>
                </a:lnTo>
                <a:lnTo>
                  <a:pt x="3647671" y="1831982"/>
                </a:lnTo>
                <a:lnTo>
                  <a:pt x="3647671" y="2249795"/>
                </a:lnTo>
                <a:lnTo>
                  <a:pt x="4031246" y="2893131"/>
                </a:lnTo>
                <a:lnTo>
                  <a:pt x="3752662" y="3310944"/>
                </a:lnTo>
                <a:cubicBezTo>
                  <a:pt x="3750093" y="3518946"/>
                  <a:pt x="3747523" y="3726947"/>
                  <a:pt x="3744954" y="3934949"/>
                </a:cubicBezTo>
                <a:lnTo>
                  <a:pt x="3622656" y="4120293"/>
                </a:lnTo>
                <a:lnTo>
                  <a:pt x="3511979" y="3934444"/>
                </a:lnTo>
                <a:lnTo>
                  <a:pt x="3511979" y="3555417"/>
                </a:lnTo>
                <a:lnTo>
                  <a:pt x="3374140" y="3329643"/>
                </a:lnTo>
                <a:lnTo>
                  <a:pt x="3374140" y="2800143"/>
                </a:lnTo>
                <a:lnTo>
                  <a:pt x="3209895" y="2522190"/>
                </a:lnTo>
                <a:lnTo>
                  <a:pt x="3381846" y="2522190"/>
                </a:lnTo>
                <a:lnTo>
                  <a:pt x="3599535" y="2864451"/>
                </a:lnTo>
                <a:lnTo>
                  <a:pt x="3432635" y="3117136"/>
                </a:lnTo>
                <a:lnTo>
                  <a:pt x="3432635" y="3241582"/>
                </a:lnTo>
                <a:lnTo>
                  <a:pt x="3647417" y="3241582"/>
                </a:lnTo>
                <a:lnTo>
                  <a:pt x="3647417" y="3181823"/>
                </a:lnTo>
                <a:lnTo>
                  <a:pt x="3855503" y="2867483"/>
                </a:lnTo>
                <a:lnTo>
                  <a:pt x="3499724" y="2308040"/>
                </a:lnTo>
                <a:lnTo>
                  <a:pt x="2833395" y="2308040"/>
                </a:lnTo>
                <a:lnTo>
                  <a:pt x="3158727" y="2859018"/>
                </a:lnTo>
                <a:lnTo>
                  <a:pt x="3158727" y="3389656"/>
                </a:lnTo>
                <a:lnTo>
                  <a:pt x="3296565" y="3615430"/>
                </a:lnTo>
                <a:lnTo>
                  <a:pt x="3296565" y="3992561"/>
                </a:lnTo>
                <a:lnTo>
                  <a:pt x="3612421" y="4522314"/>
                </a:lnTo>
                <a:lnTo>
                  <a:pt x="3958978" y="4000521"/>
                </a:lnTo>
                <a:cubicBezTo>
                  <a:pt x="3961505" y="3792604"/>
                  <a:pt x="3964031" y="3584686"/>
                  <a:pt x="3966558" y="3376769"/>
                </a:cubicBezTo>
                <a:lnTo>
                  <a:pt x="4285067" y="2898942"/>
                </a:lnTo>
                <a:lnTo>
                  <a:pt x="3862452" y="2190920"/>
                </a:lnTo>
                <a:lnTo>
                  <a:pt x="3862452" y="1760094"/>
                </a:lnTo>
                <a:lnTo>
                  <a:pt x="3691258" y="1534446"/>
                </a:lnTo>
                <a:lnTo>
                  <a:pt x="3420001" y="1534446"/>
                </a:lnTo>
                <a:lnTo>
                  <a:pt x="3219749" y="1927244"/>
                </a:lnTo>
                <a:lnTo>
                  <a:pt x="1236175" y="1926107"/>
                </a:lnTo>
                <a:cubicBezTo>
                  <a:pt x="1235670" y="1900838"/>
                  <a:pt x="1235164" y="1875570"/>
                  <a:pt x="1234659" y="1850301"/>
                </a:cubicBezTo>
                <a:lnTo>
                  <a:pt x="1497957" y="1349860"/>
                </a:lnTo>
                <a:lnTo>
                  <a:pt x="1578310" y="1349860"/>
                </a:lnTo>
                <a:lnTo>
                  <a:pt x="1803579" y="1769694"/>
                </a:lnTo>
                <a:lnTo>
                  <a:pt x="2972624" y="1769694"/>
                </a:lnTo>
                <a:lnTo>
                  <a:pt x="3222024" y="1332298"/>
                </a:lnTo>
                <a:lnTo>
                  <a:pt x="3792712" y="1335330"/>
                </a:lnTo>
                <a:lnTo>
                  <a:pt x="4019117" y="1667737"/>
                </a:lnTo>
                <a:lnTo>
                  <a:pt x="4005092" y="2042342"/>
                </a:lnTo>
                <a:lnTo>
                  <a:pt x="4459925" y="2788772"/>
                </a:lnTo>
                <a:lnTo>
                  <a:pt x="4890120" y="2790414"/>
                </a:lnTo>
                <a:lnTo>
                  <a:pt x="4870538" y="2823390"/>
                </a:lnTo>
                <a:lnTo>
                  <a:pt x="4487341" y="2824779"/>
                </a:lnTo>
                <a:lnTo>
                  <a:pt x="4123602" y="3435644"/>
                </a:lnTo>
                <a:cubicBezTo>
                  <a:pt x="4122254" y="3632317"/>
                  <a:pt x="4120907" y="3828990"/>
                  <a:pt x="4119559" y="4025663"/>
                </a:cubicBezTo>
                <a:lnTo>
                  <a:pt x="3643248" y="4787886"/>
                </a:lnTo>
                <a:lnTo>
                  <a:pt x="3643248" y="5035264"/>
                </a:lnTo>
                <a:lnTo>
                  <a:pt x="3603704" y="5100584"/>
                </a:lnTo>
                <a:lnTo>
                  <a:pt x="3511095" y="4979926"/>
                </a:lnTo>
                <a:lnTo>
                  <a:pt x="3511095" y="4646888"/>
                </a:lnTo>
                <a:lnTo>
                  <a:pt x="3176161" y="4086560"/>
                </a:lnTo>
                <a:lnTo>
                  <a:pt x="3176161" y="3759586"/>
                </a:lnTo>
                <a:lnTo>
                  <a:pt x="2989554" y="3439308"/>
                </a:lnTo>
                <a:lnTo>
                  <a:pt x="2989554" y="2902480"/>
                </a:lnTo>
                <a:lnTo>
                  <a:pt x="2668517" y="2317768"/>
                </a:lnTo>
                <a:lnTo>
                  <a:pt x="1388671" y="2317768"/>
                </a:lnTo>
                <a:lnTo>
                  <a:pt x="1251590" y="2496794"/>
                </a:lnTo>
                <a:lnTo>
                  <a:pt x="1089239" y="2496794"/>
                </a:lnTo>
                <a:lnTo>
                  <a:pt x="864224" y="2172347"/>
                </a:lnTo>
                <a:lnTo>
                  <a:pt x="854622" y="1715116"/>
                </a:lnTo>
                <a:lnTo>
                  <a:pt x="1276605" y="967422"/>
                </a:lnTo>
                <a:lnTo>
                  <a:pt x="1757842" y="967422"/>
                </a:lnTo>
                <a:lnTo>
                  <a:pt x="2026952" y="1427433"/>
                </a:lnTo>
                <a:lnTo>
                  <a:pt x="2781594" y="1427433"/>
                </a:lnTo>
                <a:lnTo>
                  <a:pt x="3026698" y="980056"/>
                </a:lnTo>
                <a:lnTo>
                  <a:pt x="3941796" y="980056"/>
                </a:lnTo>
                <a:lnTo>
                  <a:pt x="4351524" y="1546195"/>
                </a:lnTo>
                <a:lnTo>
                  <a:pt x="4350891" y="1966410"/>
                </a:lnTo>
                <a:lnTo>
                  <a:pt x="4653102" y="2485677"/>
                </a:lnTo>
                <a:lnTo>
                  <a:pt x="5432888" y="2485677"/>
                </a:lnTo>
                <a:lnTo>
                  <a:pt x="5065483" y="3128254"/>
                </a:lnTo>
                <a:lnTo>
                  <a:pt x="4771358" y="3125096"/>
                </a:lnTo>
                <a:lnTo>
                  <a:pt x="4474201" y="3593825"/>
                </a:lnTo>
                <a:lnTo>
                  <a:pt x="4474201" y="4132169"/>
                </a:lnTo>
                <a:lnTo>
                  <a:pt x="3962136" y="4934822"/>
                </a:lnTo>
                <a:lnTo>
                  <a:pt x="3962136" y="5224651"/>
                </a:lnTo>
                <a:lnTo>
                  <a:pt x="3780330" y="5527115"/>
                </a:lnTo>
                <a:lnTo>
                  <a:pt x="3430993" y="5524968"/>
                </a:lnTo>
                <a:lnTo>
                  <a:pt x="3135478" y="5177146"/>
                </a:lnTo>
                <a:lnTo>
                  <a:pt x="3135478" y="4736844"/>
                </a:lnTo>
                <a:lnTo>
                  <a:pt x="2822908" y="4168304"/>
                </a:lnTo>
                <a:lnTo>
                  <a:pt x="2823919" y="3824021"/>
                </a:lnTo>
                <a:lnTo>
                  <a:pt x="2637817" y="3499952"/>
                </a:lnTo>
                <a:lnTo>
                  <a:pt x="2637817" y="2977022"/>
                </a:lnTo>
                <a:lnTo>
                  <a:pt x="2496060" y="2723453"/>
                </a:lnTo>
                <a:lnTo>
                  <a:pt x="1511222" y="2723453"/>
                </a:lnTo>
                <a:lnTo>
                  <a:pt x="1428974" y="2866093"/>
                </a:lnTo>
                <a:lnTo>
                  <a:pt x="878879" y="2866093"/>
                </a:lnTo>
                <a:lnTo>
                  <a:pt x="510719" y="2293763"/>
                </a:lnTo>
                <a:lnTo>
                  <a:pt x="510719" y="1596732"/>
                </a:lnTo>
                <a:lnTo>
                  <a:pt x="1097958" y="610379"/>
                </a:lnTo>
                <a:lnTo>
                  <a:pt x="1980710" y="610379"/>
                </a:lnTo>
                <a:lnTo>
                  <a:pt x="2214570" y="996481"/>
                </a:lnTo>
                <a:lnTo>
                  <a:pt x="2597134" y="993954"/>
                </a:lnTo>
                <a:lnTo>
                  <a:pt x="2807999" y="610379"/>
                </a:lnTo>
                <a:lnTo>
                  <a:pt x="9354804" y="610379"/>
                </a:lnTo>
                <a:lnTo>
                  <a:pt x="9354804" y="395597"/>
                </a:lnTo>
                <a:lnTo>
                  <a:pt x="2680900" y="395597"/>
                </a:lnTo>
                <a:lnTo>
                  <a:pt x="2469907" y="779930"/>
                </a:lnTo>
                <a:lnTo>
                  <a:pt x="2335353" y="780814"/>
                </a:lnTo>
                <a:lnTo>
                  <a:pt x="2101747" y="395597"/>
                </a:lnTo>
                <a:lnTo>
                  <a:pt x="975910" y="395597"/>
                </a:lnTo>
                <a:close/>
                <a:moveTo>
                  <a:pt x="0" y="3123"/>
                </a:moveTo>
                <a:lnTo>
                  <a:pt x="14997669" y="0"/>
                </a:lnTo>
                <a:cubicBezTo>
                  <a:pt x="14996375" y="2805646"/>
                  <a:pt x="15041924" y="5673749"/>
                  <a:pt x="15040630" y="8479395"/>
                </a:cubicBezTo>
                <a:lnTo>
                  <a:pt x="28106" y="8457535"/>
                </a:lnTo>
                <a:cubicBezTo>
                  <a:pt x="28106" y="6164043"/>
                  <a:pt x="0" y="2296615"/>
                  <a:pt x="0" y="3123"/>
                </a:cubicBez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521" name="Title 520">
            <a:extLst>
              <a:ext uri="{FF2B5EF4-FFF2-40B4-BE49-F238E27FC236}">
                <a16:creationId xmlns:a16="http://schemas.microsoft.com/office/drawing/2014/main" id="{DD3D5241-53C0-7612-D85F-F4D957CE0428}"/>
              </a:ext>
            </a:extLst>
          </p:cNvPr>
          <p:cNvSpPr>
            <a:spLocks noGrp="1"/>
          </p:cNvSpPr>
          <p:nvPr>
            <p:ph type="title"/>
          </p:nvPr>
        </p:nvSpPr>
        <p:spPr>
          <a:xfrm>
            <a:off x="427601" y="944017"/>
            <a:ext cx="11582205" cy="861774"/>
          </a:xfrm>
        </p:spPr>
        <p:txBody>
          <a:bodyPr/>
          <a:lstStyle/>
          <a:p>
            <a:pPr algn="r">
              <a:lnSpc>
                <a:spcPts val="6000"/>
              </a:lnSpc>
              <a:tabLst>
                <a:tab pos="4787900" algn="l"/>
              </a:tabLst>
            </a:pPr>
            <a:r>
              <a:rPr lang="en-US" sz="5600" dirty="0">
                <a:solidFill>
                  <a:schemeClr val="bg1"/>
                </a:solidFill>
              </a:rPr>
              <a:t>Tender Briefing Session</a:t>
            </a:r>
          </a:p>
        </p:txBody>
      </p:sp>
      <p:sp>
        <p:nvSpPr>
          <p:cNvPr id="522" name="Text Placeholder 521">
            <a:extLst>
              <a:ext uri="{FF2B5EF4-FFF2-40B4-BE49-F238E27FC236}">
                <a16:creationId xmlns:a16="http://schemas.microsoft.com/office/drawing/2014/main" id="{6864D623-7115-AB1B-0C2E-4786ED32231E}"/>
              </a:ext>
            </a:extLst>
          </p:cNvPr>
          <p:cNvSpPr>
            <a:spLocks noGrp="1"/>
          </p:cNvSpPr>
          <p:nvPr>
            <p:ph type="body" sz="quarter" idx="13"/>
          </p:nvPr>
        </p:nvSpPr>
        <p:spPr>
          <a:xfrm>
            <a:off x="7099300" y="4573208"/>
            <a:ext cx="4806754" cy="1884344"/>
          </a:xfrm>
        </p:spPr>
        <p:txBody>
          <a:bodyPr wrap="square"/>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solidFill>
                  <a:srgbClr val="FFFFFF"/>
                </a:solidFill>
                <a:effectLst/>
                <a:uLnTx/>
                <a:uFillTx/>
                <a:latin typeface="Apex New Medium Italic"/>
              </a:rPr>
              <a:t>Presented By:</a:t>
            </a:r>
            <a:endParaRPr lang="en-US" b="1" dirty="0">
              <a:solidFill>
                <a:srgbClr val="FFFFFF"/>
              </a:solidFill>
              <a:latin typeface="Apex New Medium Italic"/>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Apex New Medium Italic"/>
              </a:rPr>
              <a:t>Nhlanhla Caluza</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pex New Medium Italic"/>
              </a:rPr>
              <a:t>Strategic Sourcing Manager</a:t>
            </a:r>
          </a:p>
          <a:p>
            <a:pPr algn="l" defTabSz="457200">
              <a:lnSpc>
                <a:spcPct val="100000"/>
              </a:lnSpc>
              <a:spcBef>
                <a:spcPts val="0"/>
              </a:spcBef>
              <a:spcAft>
                <a:spcPts val="0"/>
              </a:spcAft>
              <a:defRPr/>
            </a:pPr>
            <a:endParaRPr kumimoji="0" lang="en-US" sz="1800" u="none" strike="noStrike" kern="1200" cap="none" spc="0" normalizeH="0" baseline="0" noProof="0" dirty="0">
              <a:ln>
                <a:noFill/>
              </a:ln>
              <a:solidFill>
                <a:srgbClr val="FFFFFF"/>
              </a:solidFill>
              <a:effectLst/>
              <a:uLnTx/>
              <a:uFillTx/>
              <a:latin typeface="Apex New Medium Italic"/>
            </a:endParaRPr>
          </a:p>
          <a:p>
            <a:pPr algn="l" defTabSz="457200">
              <a:lnSpc>
                <a:spcPct val="100000"/>
              </a:lnSpc>
              <a:spcBef>
                <a:spcPts val="0"/>
              </a:spcBef>
              <a:spcAft>
                <a:spcPts val="0"/>
              </a:spcAft>
              <a:defRPr/>
            </a:pPr>
            <a:r>
              <a:rPr lang="en-US" dirty="0">
                <a:solidFill>
                  <a:srgbClr val="FFFFFF"/>
                </a:solidFill>
                <a:latin typeface="Apex New Medium Italic"/>
              </a:rPr>
              <a:t>14 April 2025 </a:t>
            </a:r>
          </a:p>
          <a:p>
            <a:pPr algn="l" defTabSz="457200">
              <a:lnSpc>
                <a:spcPct val="100000"/>
              </a:lnSpc>
              <a:spcBef>
                <a:spcPts val="0"/>
              </a:spcBef>
              <a:spcAft>
                <a:spcPts val="0"/>
              </a:spcAft>
              <a:defRPr/>
            </a:pPr>
            <a:r>
              <a:rPr lang="en-US" b="1" dirty="0">
                <a:solidFill>
                  <a:srgbClr val="FFFFFF"/>
                </a:solidFill>
                <a:latin typeface="Apex New Medium Italic"/>
              </a:rPr>
              <a:t>Non-Compulsory Briefing**</a:t>
            </a: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57223" y="135863"/>
            <a:ext cx="1391803" cy="948397"/>
          </a:xfrm>
          <a:prstGeom prst="rect">
            <a:avLst/>
          </a:prstGeom>
        </p:spPr>
      </p:pic>
      <p:sp>
        <p:nvSpPr>
          <p:cNvPr id="2" name="Text Placeholder 521">
            <a:extLst>
              <a:ext uri="{FF2B5EF4-FFF2-40B4-BE49-F238E27FC236}">
                <a16:creationId xmlns:a16="http://schemas.microsoft.com/office/drawing/2014/main" id="{EB8EA71E-8EAB-A4F1-B857-47EC37F871A2}"/>
              </a:ext>
            </a:extLst>
          </p:cNvPr>
          <p:cNvSpPr txBox="1">
            <a:spLocks/>
          </p:cNvSpPr>
          <p:nvPr/>
        </p:nvSpPr>
        <p:spPr>
          <a:xfrm>
            <a:off x="466821" y="1571681"/>
            <a:ext cx="11582205" cy="1022569"/>
          </a:xfrm>
          <a:prstGeom prst="rect">
            <a:avLst/>
          </a:prstGeom>
        </p:spPr>
        <p:txBody>
          <a:bodyPr wrap="squar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1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defTabSz="457200">
              <a:lnSpc>
                <a:spcPct val="100000"/>
              </a:lnSpc>
              <a:spcBef>
                <a:spcPts val="0"/>
              </a:spcBef>
              <a:spcAft>
                <a:spcPts val="0"/>
              </a:spcAft>
              <a:defRPr/>
            </a:pPr>
            <a:r>
              <a:rPr lang="en-US" sz="1800" b="1" dirty="0">
                <a:solidFill>
                  <a:schemeClr val="bg1"/>
                </a:solidFill>
                <a:effectLst/>
                <a:latin typeface="Tahoma" panose="020B0604030504040204" pitchFamily="34" charset="0"/>
                <a:ea typeface="Times New Roman" panose="02020603050405020304" pitchFamily="18" charset="0"/>
                <a:cs typeface="Times New Roman" panose="02020603050405020304" pitchFamily="18" charset="0"/>
              </a:rPr>
              <a:t>FOR THE APPOINTMENT OF A SERVICE PROVIDER TO PROVIDE AN EMPLOYEE ASSISTANCE PROGRAMME (EAP) FOR A PERIOD OF THREE (3) YEARS</a:t>
            </a:r>
            <a:r>
              <a:rPr lang="en-GB" sz="1800" b="1" dirty="0">
                <a:solidFill>
                  <a:schemeClr val="bg1"/>
                </a:solidFill>
                <a:effectLst/>
                <a:latin typeface="Tahoma" panose="020B0604030504040204" pitchFamily="34" charset="0"/>
                <a:ea typeface="Times New Roman" panose="02020603050405020304" pitchFamily="18" charset="0"/>
                <a:cs typeface="Times New Roman" panose="02020603050405020304" pitchFamily="18" charset="0"/>
              </a:rPr>
              <a:t>.</a:t>
            </a:r>
            <a:endParaRPr lang="en-US" sz="1800" dirty="0">
              <a:solidFill>
                <a:schemeClr val="bg1"/>
              </a:solidFill>
              <a:effectLst/>
              <a:latin typeface="Tahoma" panose="020B0604030504040204" pitchFamily="34" charset="0"/>
              <a:ea typeface="Times New Roman" panose="02020603050405020304" pitchFamily="18" charset="0"/>
              <a:cs typeface="Times New Roman" panose="02020603050405020304" pitchFamily="18" charset="0"/>
            </a:endParaRPr>
          </a:p>
          <a:p>
            <a:pPr defTabSz="457200">
              <a:lnSpc>
                <a:spcPct val="100000"/>
              </a:lnSpc>
              <a:spcBef>
                <a:spcPts val="0"/>
              </a:spcBef>
              <a:spcAft>
                <a:spcPts val="0"/>
              </a:spcAft>
              <a:buFontTx/>
              <a:buNone/>
              <a:defRPr/>
            </a:pPr>
            <a:r>
              <a:rPr lang="en-US" dirty="0">
                <a:solidFill>
                  <a:srgbClr val="FFFFFF"/>
                </a:solidFill>
                <a:latin typeface="Apex New Medium Italic"/>
              </a:rPr>
              <a:t>TCC/2025/03/0001/90783/RFP</a:t>
            </a:r>
          </a:p>
        </p:txBody>
      </p:sp>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762000" y="773443"/>
            <a:ext cx="13208000" cy="6185604"/>
          </a:xfrm>
          <a:prstGeom prst="rect">
            <a:avLst/>
          </a:prstGeom>
          <a:noFill/>
        </p:spPr>
        <p:txBody>
          <a:bodyPr wrap="square">
            <a:spAutoFit/>
          </a:bodyPr>
          <a:lstStyle/>
          <a:p>
            <a:pPr>
              <a:lnSpc>
                <a:spcPct val="150000"/>
              </a:lnSpc>
              <a:spcAft>
                <a:spcPts val="195"/>
              </a:spcAft>
            </a:pPr>
            <a:r>
              <a:rPr lang="en-GB" sz="900" kern="100" dirty="0">
                <a:cs typeface="Arial" panose="020B0604020202020204" pitchFamily="34" charset="0"/>
              </a:rPr>
              <a:t>     		2.1.13.	</a:t>
            </a:r>
            <a:r>
              <a:rPr lang="en-US" sz="900" kern="100" dirty="0">
                <a:cs typeface="Arial" panose="020B0604020202020204" pitchFamily="34" charset="0"/>
              </a:rPr>
              <a:t>The </a:t>
            </a:r>
            <a:r>
              <a:rPr lang="en-US" sz="1000" kern="100" dirty="0">
                <a:cs typeface="Arial" panose="020B0604020202020204" pitchFamily="34" charset="0"/>
              </a:rPr>
              <a:t>service must include counselling for teenagers. The service must include counselling for children especially when there is a death / traumatic event.</a:t>
            </a:r>
          </a:p>
          <a:p>
            <a:pPr>
              <a:lnSpc>
                <a:spcPct val="150000"/>
              </a:lnSpc>
              <a:spcAft>
                <a:spcPts val="195"/>
              </a:spcAft>
            </a:pPr>
            <a:r>
              <a:rPr lang="en-US" sz="1000" kern="100" dirty="0">
                <a:cs typeface="Arial" panose="020B0604020202020204" pitchFamily="34" charset="0"/>
              </a:rPr>
              <a:t>		2.1.14.	The model must include a minimum of six (6) counselling sessions per employee per issue, with the option to extend the sessions on an “as and when” required basis which requires pre-approval by 				the Operating Division Employee Wellness Programme (EWP) manager. There should be an opportunity to request two more if needed, based on merit.</a:t>
            </a:r>
          </a:p>
          <a:p>
            <a:pPr>
              <a:lnSpc>
                <a:spcPct val="150000"/>
              </a:lnSpc>
              <a:spcAft>
                <a:spcPts val="195"/>
              </a:spcAft>
            </a:pPr>
            <a:r>
              <a:rPr lang="en-US" sz="1000" kern="100" dirty="0">
                <a:cs typeface="Arial" panose="020B0604020202020204" pitchFamily="34" charset="0"/>
              </a:rPr>
              <a:t>		2.1.15.	The service provider must offer counselling to employees and their dependent family members, with at least 90% face-to-face and 10% virtual sessions.</a:t>
            </a:r>
          </a:p>
          <a:p>
            <a:pPr>
              <a:lnSpc>
                <a:spcPct val="150000"/>
              </a:lnSpc>
              <a:spcAft>
                <a:spcPts val="195"/>
              </a:spcAft>
            </a:pPr>
            <a:r>
              <a:rPr lang="en-US" sz="1000" kern="100" dirty="0">
                <a:effectLst/>
                <a:latin typeface="Tahoma" panose="020B0604030504040204" pitchFamily="34" charset="0"/>
                <a:ea typeface="Times New Roman" panose="02020603050405020304" pitchFamily="18" charset="0"/>
                <a:cs typeface="Arial" panose="020B0604020202020204" pitchFamily="34" charset="0"/>
              </a:rPr>
              <a:t>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16.  The service should be available in the eleven official languages including sign language and the national footprint of the Service provider to be sound to accommodate Transnet employees at remote 				sites across the country.	</a:t>
            </a:r>
            <a:r>
              <a:rPr lang="en-GB" sz="1000" dirty="0">
                <a:latin typeface="Tahoma" panose="020B0604030504040204" pitchFamily="34" charset="0"/>
                <a:ea typeface="Times New Roman" panose="02020603050405020304" pitchFamily="18" charset="0"/>
                <a:cs typeface="Times New Roman" panose="02020603050405020304" pitchFamily="18" charset="0"/>
              </a:rPr>
              <a:t>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availability of the affiliates needs to match the Transnet geographical map Trauma debriefing must be available twenty-four hours a day, seven days a week and three 				hundred and sixty-five days a year. After-hours access to this type of service must be availabl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0" lvl="2" algn="just">
              <a:lnSpc>
                <a:spcPct val="150000"/>
              </a:lnSpc>
              <a:spcBef>
                <a:spcPts val="600"/>
              </a:spcBef>
              <a:spcAft>
                <a:spcPts val="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17. 	The service package must includ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In-person session</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Electronic on-line advisory servic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SMS &amp; Call back system</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Management advisory</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0" lvl="2" algn="just">
              <a:lnSpc>
                <a:spcPct val="150000"/>
              </a:lnSpc>
              <a:spcBef>
                <a:spcPts val="600"/>
              </a:spcBef>
              <a:spcAft>
                <a:spcPts val="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18.	The service provider must be able to set up on-site (counselling clinics) as per the Transnet protocol on size and number of employees on site and accessibility of the site, including remote sit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0" lvl="2" algn="just">
              <a:lnSpc>
                <a:spcPct val="150000"/>
              </a:lnSpc>
              <a:spcBef>
                <a:spcPts val="600"/>
              </a:spcBef>
              <a:spcAft>
                <a:spcPts val="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19.	The service provider must provide reports on individual formal referral counselling cases that must follow the following forma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Formal report after the second session, to provide progress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Final report after the final session; and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Regular progress feedback in between to the EWP manager(s) or referring agent.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latter may be in the form of an e-mail or written feedback for record keeping.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0" lvl="2" algn="just">
              <a:lnSpc>
                <a:spcPct val="150000"/>
              </a:lnSpc>
              <a:spcBef>
                <a:spcPts val="600"/>
              </a:spcBef>
              <a:spcAft>
                <a:spcPts val="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20	The service provider must provide confirmation and a plan regarding the following: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 continuity plan for dealing with unforeseen matters including when the call centre is down and a plan for immediate replacement of exiting key account managers which could compromise and disrupt the servic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Have a mechanism to prove that contact was initiated with the client e.g. SMS response confirmation.</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o implement a reference number tracking system and share call centre protocols within a week of service launch.</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51752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0" y="845777"/>
            <a:ext cx="10960992" cy="6012223"/>
          </a:xfrm>
          <a:prstGeom prst="rect">
            <a:avLst/>
          </a:prstGeom>
          <a:noFill/>
        </p:spPr>
        <p:txBody>
          <a:bodyPr wrap="square">
            <a:spAutoFit/>
          </a:bodyPr>
          <a:lstStyle/>
          <a:p>
            <a:pPr marL="228600" lvl="4" algn="just">
              <a:lnSpc>
                <a:spcPct val="150000"/>
              </a:lnSpc>
              <a:spcBef>
                <a:spcPts val="300"/>
              </a:spcBef>
            </a:pPr>
            <a:r>
              <a:rPr lang="en-US" sz="1000" dirty="0">
                <a:latin typeface="Tahoma" panose="020B0604030504040204" pitchFamily="34" charset="0"/>
                <a:cs typeface="Times New Roman" panose="02020603050405020304" pitchFamily="18" charset="0"/>
              </a:rPr>
              <a:t>(d) To provide Transnet with registered affiliates who have a proven track record and follow standardized professional processes of their professional bodies. The services provider must also provide a clear record of vetting affiliates and their premises where they provide services. The service provider must have a clear on-boarding plan for all affiliates and professional consultants who will serve on the Transnet contract.</a:t>
            </a:r>
          </a:p>
          <a:p>
            <a:pPr marL="228600" lvl="4" algn="just">
              <a:lnSpc>
                <a:spcPct val="150000"/>
              </a:lnSpc>
              <a:spcBef>
                <a:spcPts val="300"/>
              </a:spcBef>
            </a:pPr>
            <a:r>
              <a:rPr lang="en-US" sz="1000" dirty="0">
                <a:latin typeface="Tahoma" panose="020B0604030504040204" pitchFamily="34" charset="0"/>
                <a:cs typeface="Times New Roman" panose="02020603050405020304" pitchFamily="18" charset="0"/>
              </a:rPr>
              <a:t>(e)	Ensure active involvement of key account managers in Transnet processes and be proactive in addressing issues of wellness in Transnet and be able to escalate unresolved issues.</a:t>
            </a:r>
          </a:p>
          <a:p>
            <a:pPr marL="228600" lvl="4" algn="just">
              <a:lnSpc>
                <a:spcPct val="150000"/>
              </a:lnSpc>
              <a:spcBef>
                <a:spcPts val="300"/>
              </a:spcBef>
            </a:pPr>
            <a:r>
              <a:rPr lang="en-US" sz="1000" dirty="0">
                <a:latin typeface="Tahoma" panose="020B0604030504040204" pitchFamily="34" charset="0"/>
                <a:cs typeface="Times New Roman" panose="02020603050405020304" pitchFamily="18" charset="0"/>
              </a:rPr>
              <a:t>(f)	The capacity to dispatch specialized training skills when required. e.g., Counsellors with trauma management experience.</a:t>
            </a:r>
            <a:endParaRPr lang="en-GB" sz="1000" dirty="0">
              <a:latin typeface="Tahoma" panose="020B0604030504040204" pitchFamily="34" charset="0"/>
              <a:cs typeface="Times New Roman" panose="02020603050405020304" pitchFamily="18" charset="0"/>
            </a:endParaRPr>
          </a:p>
          <a:p>
            <a:pPr marL="228600" lvl="4" algn="just">
              <a:lnSpc>
                <a:spcPct val="150000"/>
              </a:lnSpc>
              <a:spcBef>
                <a:spcPts val="300"/>
              </a:spcBef>
            </a:pPr>
            <a:r>
              <a:rPr lang="en-GB" sz="1000" dirty="0">
                <a:latin typeface="Tahoma" panose="020B0604030504040204" pitchFamily="34" charset="0"/>
                <a:cs typeface="Times New Roman" panose="02020603050405020304" pitchFamily="18" charset="0"/>
              </a:rPr>
              <a:t>(g) To develop effective communication strategies within the organization to ensure that employees are well-informed about available resources and support, as well as to provide a communication and marketing plan to improve Employee Assistance Programme service delivery.</a:t>
            </a:r>
            <a:endParaRPr lang="en-US" sz="1000" dirty="0">
              <a:latin typeface="Tahoma" panose="020B0604030504040204" pitchFamily="34" charset="0"/>
              <a:cs typeface="Times New Roman" panose="02020603050405020304" pitchFamily="18" charset="0"/>
            </a:endParaRPr>
          </a:p>
          <a:p>
            <a:pPr marL="228600" lvl="4" algn="just">
              <a:lnSpc>
                <a:spcPct val="150000"/>
              </a:lnSpc>
              <a:spcBef>
                <a:spcPts val="300"/>
              </a:spcBef>
            </a:pPr>
            <a:r>
              <a:rPr lang="en-GB" sz="1000" dirty="0">
                <a:latin typeface="Tahoma" panose="020B0604030504040204" pitchFamily="34" charset="0"/>
                <a:cs typeface="Times New Roman" panose="02020603050405020304" pitchFamily="18" charset="0"/>
              </a:rPr>
              <a:t>(h) The communication and marketing plan must include how the service will be delivered to all levels of employees and implement surveys that will continue to assist Transnet to understand and be informed of the current state of wellness. These surveys must use an approved model in assessing the behavioural performance of the organisations based on wellness issues that could be identified.</a:t>
            </a:r>
          </a:p>
          <a:p>
            <a:pPr marL="228600" lvl="4" algn="just">
              <a:lnSpc>
                <a:spcPct val="150000"/>
              </a:lnSpc>
              <a:spcBef>
                <a:spcPts val="300"/>
              </a:spcBef>
            </a:pPr>
            <a:endParaRPr lang="en-US" sz="1000" dirty="0">
              <a:latin typeface="Tahoma" panose="020B0604030504040204" pitchFamily="34" charset="0"/>
              <a:cs typeface="Times New Roman" panose="02020603050405020304" pitchFamily="18" charset="0"/>
            </a:endParaRPr>
          </a:p>
          <a:p>
            <a:pPr marL="228600" lvl="4" algn="just">
              <a:lnSpc>
                <a:spcPct val="150000"/>
              </a:lnSpc>
              <a:spcBef>
                <a:spcPts val="300"/>
              </a:spcBef>
            </a:pPr>
            <a:r>
              <a:rPr lang="en-US" sz="1000" dirty="0">
                <a:latin typeface="Tahoma" panose="020B0604030504040204" pitchFamily="34" charset="0"/>
                <a:ea typeface="Times New Roman" panose="02020603050405020304" pitchFamily="18" charset="0"/>
                <a:cs typeface="Times New Roman" panose="02020603050405020304" pitchFamily="18" charset="0"/>
              </a:rPr>
              <a:t>2.2.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wareness, education, and training (Group Sessions) (Capitation Fe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28600" marR="0" algn="just">
              <a:lnSpc>
                <a:spcPct val="150000"/>
              </a:lnSpc>
              <a:spcBef>
                <a:spcPts val="300"/>
              </a:spcBef>
              <a:spcAft>
                <a:spcPts val="0"/>
              </a:spcAft>
            </a:pP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Transnet will accommodate both in person and on-line sessions based on the request and agreements</a:t>
            </a:r>
            <a:endParaRPr lang="en-US" sz="1000" b="1" dirty="0">
              <a:latin typeface="Tahoma" panose="020B0604030504040204" pitchFamily="34" charset="0"/>
              <a:ea typeface="Times New Roman" panose="02020603050405020304" pitchFamily="18" charset="0"/>
              <a:cs typeface="Times New Roman" panose="02020603050405020304" pitchFamily="18" charset="0"/>
            </a:endParaRPr>
          </a:p>
          <a:p>
            <a:pPr marL="228600" marR="0" algn="just">
              <a:lnSpc>
                <a:spcPct val="150000"/>
              </a:lnSpc>
              <a:spcBef>
                <a:spcPts val="300"/>
              </a:spcBef>
              <a:spcAft>
                <a:spcPts val="0"/>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2.1</a:t>
            </a:r>
            <a:r>
              <a:rPr lang="en-US" sz="1000" dirty="0">
                <a:latin typeface="Tahoma" panose="020B0604030504040204" pitchFamily="34" charset="0"/>
                <a:ea typeface="Times New Roman" panose="02020603050405020304" pitchFamily="18" charset="0"/>
                <a:cs typeface="Times New Roman" panose="02020603050405020304" pitchFamily="18" charset="0"/>
              </a:rPr>
              <a:t>.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briefing sessions on the EAP services must be limited and must form part of the capitation fee.</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L="228600" marR="0" algn="just">
              <a:lnSpc>
                <a:spcPct val="150000"/>
              </a:lnSpc>
              <a:spcBef>
                <a:spcPts val="300"/>
              </a:spcBef>
              <a:spcAft>
                <a:spcPts val="0"/>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2.2</a:t>
            </a:r>
            <a:r>
              <a:rPr lang="en-US" sz="1000" dirty="0">
                <a:latin typeface="Tahoma" panose="020B0604030504040204" pitchFamily="34" charset="0"/>
                <a:ea typeface="Times New Roman" panose="02020603050405020304" pitchFamily="18" charset="0"/>
                <a:cs typeface="Times New Roman" panose="02020603050405020304" pitchFamily="18" charset="0"/>
              </a:rPr>
              <a:t>.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awareness session on the following topics: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Financial Managem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Fatigue Managem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rauma Management,</a:t>
            </a: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Mental health which will include but not limited to stress management, self-care and resilience,</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Substance Abuse including gambling programmes,</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ti-smoking programmes,</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Relationships &amp; Parenting,</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Conflict Resolution and</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97874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0" y="929268"/>
            <a:ext cx="11633070" cy="5453288"/>
          </a:xfrm>
          <a:prstGeom prst="rect">
            <a:avLst/>
          </a:prstGeom>
          <a:noFill/>
        </p:spPr>
        <p:txBody>
          <a:bodyPr wrap="square">
            <a:spAutoFit/>
          </a:bodyPr>
          <a:lstStyle/>
          <a:p>
            <a:pPr marR="27305" lvl="1" algn="just">
              <a:lnSpc>
                <a:spcPct val="150000"/>
              </a:lnSpc>
              <a:spcBef>
                <a:spcPts val="300"/>
              </a:spcBef>
              <a:spcAft>
                <a:spcPts val="835"/>
              </a:spcAft>
            </a:pPr>
            <a:r>
              <a:rPr lang="en-US" sz="900" dirty="0">
                <a:latin typeface="Tahoma" panose="020B0604030504040204" pitchFamily="34" charset="0"/>
                <a:ea typeface="Times New Roman" panose="02020603050405020304" pitchFamily="18" charset="0"/>
                <a:cs typeface="Times New Roman" panose="02020603050405020304" pitchFamily="18" charset="0"/>
              </a:rPr>
              <a:t>I). </a:t>
            </a:r>
            <a:r>
              <a:rPr lang="en-US" sz="900" dirty="0">
                <a:effectLst/>
                <a:latin typeface="Tahoma" panose="020B0604030504040204" pitchFamily="34" charset="0"/>
                <a:ea typeface="Times New Roman" panose="02020603050405020304" pitchFamily="18" charset="0"/>
                <a:cs typeface="Times New Roman" panose="02020603050405020304" pitchFamily="18" charset="0"/>
              </a:rPr>
              <a:t>Antibullying.</a:t>
            </a:r>
          </a:p>
          <a:p>
            <a:pPr marR="27305" lvl="1" algn="just">
              <a:lnSpc>
                <a:spcPct val="150000"/>
              </a:lnSpc>
              <a:spcBef>
                <a:spcPts val="300"/>
              </a:spcBef>
              <a:spcAft>
                <a:spcPts val="835"/>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2.3.  These sessions should be no longer than one (1) hour and will thus be included in the capitated fee (300 sessions per annum).</a:t>
            </a:r>
          </a:p>
          <a:p>
            <a:pPr marR="27305" lvl="1" algn="just">
              <a:lnSpc>
                <a:spcPct val="150000"/>
              </a:lnSpc>
              <a:spcBef>
                <a:spcPts val="300"/>
              </a:spcBef>
              <a:spcAft>
                <a:spcPts val="835"/>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2.4.  The briefing sessions will include employees, HR managers and relevant stakeholders.</a:t>
            </a:r>
          </a:p>
          <a:p>
            <a:pPr marR="27305" lvl="1" algn="just">
              <a:lnSpc>
                <a:spcPct val="150000"/>
              </a:lnSpc>
              <a:spcBef>
                <a:spcPts val="300"/>
              </a:spcBef>
              <a:spcAft>
                <a:spcPts val="835"/>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2.5.  Managerial training and training of all HR practitioners must be offered. All training material must be customized to the target group.</a:t>
            </a:r>
          </a:p>
          <a:p>
            <a:pPr marR="27305" lvl="1" algn="just">
              <a:lnSpc>
                <a:spcPct val="150000"/>
              </a:lnSpc>
              <a:spcBef>
                <a:spcPts val="300"/>
              </a:spcBef>
              <a:spcAft>
                <a:spcPts val="835"/>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2.6.  Training on various business needs and risk emanation from the business. These would include but not limited to the marine cadet life skill programme, diversity management, personal mastery and resilience enhancement, conflict resolution, woman and gender and stress management.</a:t>
            </a:r>
            <a:endParaRPr lang="en-GB"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3.	Health, Wellness and Risk Management (Fee for service structur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2"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3.1. The health, wellness and risk management services must includ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Personalised health risk assessment which will form part of the wellness day offering.</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Support and engagement with employees after health risk assessments as part of a follow-up plan.</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HIV Counselling and Testing (HCT) be conducted as component of wellness days within an integrated model or as campaigns, as decided by the various Operating Division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management of wellness days with the Transnet functionaries ranging from project planning, sourcing providers, engagement with on-site functionaries and managing the overall ev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overall wellness day management fall within this ambi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Working with medical schemes or other providers to assist employees in managing their health risk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demonstration of an on-line system to track employees who have health risks and for subsequent follow-up.</a:t>
            </a:r>
          </a:p>
          <a:p>
            <a:pPr marR="27305" lvl="4" algn="just">
              <a:lnSpc>
                <a:spcPct val="149000"/>
              </a:lnSpc>
              <a:spcBef>
                <a:spcPts val="300"/>
              </a:spcBef>
              <a:spcAft>
                <a:spcPts val="0"/>
              </a:spcAft>
            </a:pP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3" algn="just">
              <a:lnSpc>
                <a:spcPct val="149000"/>
              </a:lnSpc>
              <a:spcBef>
                <a:spcPts val="300"/>
              </a:spcBef>
            </a:pP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13778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0" y="819201"/>
            <a:ext cx="11633070" cy="6850593"/>
          </a:xfrm>
          <a:prstGeom prst="rect">
            <a:avLst/>
          </a:prstGeom>
          <a:noFill/>
        </p:spPr>
        <p:txBody>
          <a:bodyPr wrap="square">
            <a:spAutoFit/>
          </a:bodyPr>
          <a:lstStyle/>
          <a:p>
            <a:pPr marR="27305" lvl="1" algn="just">
              <a:spcBef>
                <a:spcPts val="300"/>
              </a:spcBef>
              <a:spcAft>
                <a:spcPts val="835"/>
              </a:spcAft>
            </a:pPr>
            <a:r>
              <a:rPr lang="en-GB" sz="1000"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2.4.	</a:t>
            </a:r>
            <a:r>
              <a:rPr lang="en-GB" sz="1000" u="sng"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Executive Wellness</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 (Fee for service structure)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marR="27305" algn="just">
              <a:spcBef>
                <a:spcPts val="300"/>
              </a:spcBef>
              <a:spcAft>
                <a:spcPts val="28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ransnet standard is to provide a bi-annual executive wellness assessment which is risk-based and considers Physical risks, a mental health and stress inventory, burn-out inventory and any other risks that individual Executives may encounter in the course of their job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27305" indent="97155" algn="just">
              <a:lnSpc>
                <a:spcPct val="140000"/>
              </a:lnSpc>
              <a:spcBef>
                <a:spcPts val="300"/>
              </a:spcBef>
              <a:spcAft>
                <a:spcPts val="28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executive wellness services must include the following: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Ensure an active follow-through, engagement and after assessment support strategy for executiv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One-on-one-engagement sessions once a month that will support Executives in their own environment.</a:t>
            </a:r>
          </a:p>
          <a:p>
            <a:pPr marR="27305" lvl="1" algn="just">
              <a:lnSpc>
                <a:spcPct val="150000"/>
              </a:lnSpc>
              <a:spcBef>
                <a:spcPts val="300"/>
              </a:spcBef>
              <a:spcAft>
                <a:spcPts val="835"/>
              </a:spcAft>
            </a:pPr>
            <a:r>
              <a:rPr lang="en-US" sz="1000" dirty="0">
                <a:uFill>
                  <a:solidFill>
                    <a:srgbClr val="000000"/>
                  </a:solidFill>
                </a:uFill>
                <a:latin typeface="Tahoma" panose="020B0604030504040204" pitchFamily="34" charset="0"/>
                <a:cs typeface="Times New Roman" panose="02020603050405020304" pitchFamily="18" charset="0"/>
              </a:rPr>
              <a:t>2.5.	</a:t>
            </a:r>
            <a:r>
              <a:rPr lang="en-US" sz="1000" u="sng" dirty="0">
                <a:uFill>
                  <a:solidFill>
                    <a:srgbClr val="000000"/>
                  </a:solidFill>
                </a:uFill>
                <a:latin typeface="Tahoma" panose="020B0604030504040204" pitchFamily="34" charset="0"/>
                <a:cs typeface="Times New Roman" panose="02020603050405020304" pitchFamily="18" charset="0"/>
              </a:rPr>
              <a:t>EAP Consulting services  </a:t>
            </a:r>
          </a:p>
          <a:p>
            <a:pPr marR="27305" lvl="1" algn="just">
              <a:lnSpc>
                <a:spcPct val="150000"/>
              </a:lnSpc>
              <a:spcBef>
                <a:spcPts val="300"/>
              </a:spcBef>
              <a:spcAft>
                <a:spcPts val="835"/>
              </a:spcAft>
            </a:pPr>
            <a:r>
              <a:rPr lang="en-US" sz="1000" dirty="0">
                <a:uFill>
                  <a:solidFill>
                    <a:srgbClr val="000000"/>
                  </a:solidFill>
                </a:uFill>
                <a:latin typeface="Tahoma" panose="020B0604030504040204" pitchFamily="34" charset="0"/>
                <a:cs typeface="Times New Roman" panose="02020603050405020304" pitchFamily="18" charset="0"/>
              </a:rPr>
              <a:t>The Employee Wellness programme of Transnet has become an important business intervention in enhancing performance and in the business retaining a competitive edge.  This has been achieved mainly through the EAP being a major consultant to the business in designing and implementing solutions to business needs. </a:t>
            </a:r>
          </a:p>
          <a:p>
            <a:pPr marR="27305" lvl="3" algn="just">
              <a:lnSpc>
                <a:spcPct val="149000"/>
              </a:lnSpc>
              <a:spcBef>
                <a:spcPts val="300"/>
              </a:spcBef>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a)	Life-skills and support programme, e.g., resilience programme and other tailor-made life skills programmes</a:t>
            </a:r>
          </a:p>
          <a:p>
            <a:pPr marR="27305" lvl="3" algn="just">
              <a:lnSpc>
                <a:spcPct val="149000"/>
              </a:lnSpc>
              <a:spcBef>
                <a:spcPts val="300"/>
              </a:spcBef>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b)	Fatigue management </a:t>
            </a:r>
          </a:p>
          <a:p>
            <a:pPr marR="27305" lvl="1" algn="just">
              <a:lnSpc>
                <a:spcPct val="150000"/>
              </a:lnSpc>
              <a:spcBef>
                <a:spcPts val="300"/>
              </a:spcBef>
              <a:spcAft>
                <a:spcPts val="835"/>
              </a:spcAft>
            </a:pPr>
            <a:r>
              <a:rPr lang="en-US" sz="1000" dirty="0">
                <a:uFill>
                  <a:solidFill>
                    <a:srgbClr val="000000"/>
                  </a:solidFill>
                </a:uFill>
                <a:latin typeface="Tahoma" panose="020B0604030504040204" pitchFamily="34" charset="0"/>
                <a:cs typeface="Times New Roman" panose="02020603050405020304" pitchFamily="18" charset="0"/>
              </a:rPr>
              <a:t>2.6.	The Service Provider must demonstrate a competence in assisting Transnet with the above and would not be limited to the projects and programmes / solutions mentioned above.</a:t>
            </a: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7.	The expectation would be to assist in research, design, plan, implement and monitoring of new projects required by the business; and</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8.	</a:t>
            </a: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These could also include talk shops as opposed to workshops monthly to address trends identified on</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Fatigue managem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Relationship issues – work and personal</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How to deal with conflic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Resilience building in our changing environm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How to deal with chang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Stress managem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00200" marR="27305" lvl="3" indent="-228600" algn="just">
              <a:lnSpc>
                <a:spcPct val="149000"/>
              </a:lnSpc>
              <a:spcBef>
                <a:spcPts val="300"/>
              </a:spcBef>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Money matter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3" algn="just">
              <a:lnSpc>
                <a:spcPct val="149000"/>
              </a:lnSpc>
              <a:spcBef>
                <a:spcPts val="300"/>
              </a:spcBef>
            </a:pP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28888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3" name="TextBox 2">
            <a:extLst>
              <a:ext uri="{FF2B5EF4-FFF2-40B4-BE49-F238E27FC236}">
                <a16:creationId xmlns:a16="http://schemas.microsoft.com/office/drawing/2014/main" id="{0627165A-3F2E-16B6-1307-8CEDF4B769E1}"/>
              </a:ext>
            </a:extLst>
          </p:cNvPr>
          <p:cNvSpPr txBox="1"/>
          <p:nvPr/>
        </p:nvSpPr>
        <p:spPr>
          <a:xfrm>
            <a:off x="-202018" y="909923"/>
            <a:ext cx="12089218" cy="3995774"/>
          </a:xfrm>
          <a:prstGeom prst="rect">
            <a:avLst/>
          </a:prstGeom>
          <a:noFill/>
        </p:spPr>
        <p:txBody>
          <a:bodyPr wrap="square">
            <a:spAutoFit/>
          </a:bodyPr>
          <a:lstStyle/>
          <a:p>
            <a:pPr marR="27305" lvl="1" algn="just">
              <a:lnSpc>
                <a:spcPct val="150000"/>
              </a:lnSpc>
              <a:spcBef>
                <a:spcPts val="300"/>
              </a:spcBef>
              <a:spcAft>
                <a:spcPts val="835"/>
              </a:spcAft>
            </a:pPr>
            <a:r>
              <a:rPr lang="en-GB" sz="900" dirty="0">
                <a:effectLst/>
                <a:latin typeface="Tahoma" panose="020B0604030504040204" pitchFamily="34" charset="0"/>
                <a:ea typeface="Times New Roman" panose="02020603050405020304" pitchFamily="18" charset="0"/>
                <a:cs typeface="Times New Roman" panose="02020603050405020304" pitchFamily="18" charset="0"/>
              </a:rPr>
              <a:t>2.9.	</a:t>
            </a: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Lifestyle management services which include advanced debt management, review, and consolidation (capitation fee structure)</a:t>
            </a:r>
            <a:endParaRPr lang="en-US" sz="1000" b="1" dirty="0">
              <a:effectLst/>
              <a:latin typeface="Tahoma" panose="020B0604030504040204" pitchFamily="34" charset="0"/>
              <a:ea typeface="Times New Roman" panose="02020603050405020304" pitchFamily="18" charset="0"/>
              <a:cs typeface="Times New Roman" panose="02020603050405020304" pitchFamily="18" charset="0"/>
            </a:endParaRPr>
          </a:p>
          <a:p>
            <a:pPr marL="360045" marR="27305"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               </a:t>
            </a:r>
            <a:r>
              <a:rPr lang="en-GB" sz="1000" dirty="0">
                <a:latin typeface="Tahoma" panose="020B0604030504040204" pitchFamily="34" charset="0"/>
                <a:ea typeface="Times New Roman" panose="02020603050405020304" pitchFamily="18" charset="0"/>
                <a:cs typeface="Times New Roman" panose="02020603050405020304" pitchFamily="18" charset="0"/>
              </a:rPr>
              <a:t>T</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he bidder must provide coaching &amp; advice to Transnet employees regarding the lifestyle management services including the following: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2" algn="just">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9.1	Advanced Financial Management</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2" algn="just">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9.2.	Debt rehabilitation and  management inclusive of:</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debt counselling and debt review and negotiate with creditors on behalf of employe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Debt consolidation and assist with debt recovery.</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bility to engage with both managerial and non-managerial employe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Workshops on money tip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Face-to-face contact and coaching for the employees on financial wellness matters with availability of onsite consultants to engage with employees as required, which at least 60% of cases will be face to fac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Broader Financial Management and Literacy (Money management and budgeting).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Model of limitless telephonic and electronic access and a maximum of 3 face to face contact sessions per financial challenge experienced.</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2057400" marR="27305" lvl="4" indent="-228600" algn="just">
              <a:lnSpc>
                <a:spcPct val="149000"/>
              </a:lnSpc>
              <a:spcBef>
                <a:spcPts val="300"/>
              </a:spcBef>
              <a:spcAft>
                <a:spcPts val="0"/>
              </a:spcAft>
              <a:buFont typeface="+mj-lt"/>
              <a:buAutoNum type="alphaLcParenBoth"/>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Legal advice and guidance.</a:t>
            </a:r>
          </a:p>
          <a:p>
            <a:pPr marL="2057400" marR="27305" lvl="4" indent="-228600" algn="just">
              <a:lnSpc>
                <a:spcPct val="149000"/>
              </a:lnSpc>
              <a:spcBef>
                <a:spcPts val="300"/>
              </a:spcBef>
              <a:spcAft>
                <a:spcPts val="0"/>
              </a:spcAft>
              <a:buFont typeface="+mj-lt"/>
              <a:buAutoNum type="alphaLcParenBoth"/>
            </a:pPr>
            <a:r>
              <a:rPr lang="en-GB" sz="1000" dirty="0">
                <a:latin typeface="Tahoma" panose="020B0604030504040204" pitchFamily="34" charset="0"/>
                <a:ea typeface="Times New Roman" panose="02020603050405020304" pitchFamily="18" charset="0"/>
                <a:cs typeface="Times New Roman" panose="02020603050405020304" pitchFamily="18" charset="0"/>
              </a:rPr>
              <a:t>Value Added Services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14374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3" name="TextBox 2">
            <a:extLst>
              <a:ext uri="{FF2B5EF4-FFF2-40B4-BE49-F238E27FC236}">
                <a16:creationId xmlns:a16="http://schemas.microsoft.com/office/drawing/2014/main" id="{4D53A82E-FA7F-7E1A-718E-417D59618824}"/>
              </a:ext>
            </a:extLst>
          </p:cNvPr>
          <p:cNvSpPr txBox="1"/>
          <p:nvPr/>
        </p:nvSpPr>
        <p:spPr>
          <a:xfrm>
            <a:off x="0" y="818706"/>
            <a:ext cx="11855302" cy="6214522"/>
          </a:xfrm>
          <a:prstGeom prst="rect">
            <a:avLst/>
          </a:prstGeom>
          <a:noFill/>
        </p:spPr>
        <p:txBody>
          <a:bodyPr wrap="square">
            <a:spAutoFit/>
          </a:bodyPr>
          <a:lstStyle/>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0.	</a:t>
            </a: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Marketing and communication services </a:t>
            </a:r>
            <a:endParaRPr lang="en-US" sz="1000" b="1" dirty="0">
              <a:effectLst/>
              <a:latin typeface="Tahoma" panose="020B0604030504040204" pitchFamily="34" charset="0"/>
              <a:ea typeface="Times New Roman" panose="02020603050405020304" pitchFamily="18" charset="0"/>
              <a:cs typeface="Times New Roman" panose="02020603050405020304" pitchFamily="18" charset="0"/>
            </a:endParaRPr>
          </a:p>
          <a:p>
            <a:pPr marL="502920" marR="27305" algn="just">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Marketing and communication services must include the following, the design and printing in colour  of which should be included in the capitation fee structure:</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Aft>
                <a:spcPts val="420"/>
              </a:spcAft>
              <a:buFont typeface="+mj-lt"/>
              <a:buAutoNum type="alphaLcParenR"/>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Design a marketing and communication plan, which will take into the creation of content for supporting the Transnet EAP, by a Content Enablement Strategy, reinforced by an action plan that integrates Transnet Corporate Plan, and the Wellness its employees, into an EAP Marketing and Communication (Content Enablement) Charter.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Aft>
                <a:spcPts val="420"/>
              </a:spcAft>
              <a:buFont typeface="+mj-lt"/>
              <a:buAutoNum type="alphaLcParenR"/>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creation and distribution of promotional material, which must be Transnet branded in line with the Corporate Identity Guidelin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143000" marR="27305" lvl="2" indent="-228600" algn="just">
              <a:lnSpc>
                <a:spcPct val="149000"/>
              </a:lnSpc>
              <a:spcAft>
                <a:spcPts val="420"/>
              </a:spcAft>
              <a:buFont typeface="+mj-lt"/>
              <a:buAutoNum type="alphaLcParenR"/>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Promotional items will amongst others consist of: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1657350" lvl="3" indent="-28575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Online communication and marketing, e.g., able to facilitate webinars etc.</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Poster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Wallet card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Brochures / pamphlets /digital poster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Manager / supervisor, HR user guides (booklets and hand-out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Production of DVDs on various EAP related topic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Management of the website</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Social media platform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SMS; WhatsApp, mobile apps, etc.</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E-mailers</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Screen savers </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Articles, and </a:t>
            </a:r>
            <a:endParaRPr lang="en-US" sz="1000" kern="1600" dirty="0">
              <a:effectLst/>
              <a:latin typeface="Tahoma" panose="020B0604030504040204" pitchFamily="34" charset="0"/>
              <a:cs typeface="Times New Roman" panose="02020603050405020304" pitchFamily="18" charset="0"/>
            </a:endParaRPr>
          </a:p>
          <a:p>
            <a:pPr marL="1600200" lvl="3" indent="-228600" algn="just">
              <a:lnSpc>
                <a:spcPct val="150000"/>
              </a:lnSpc>
              <a:spcBef>
                <a:spcPts val="300"/>
              </a:spcBef>
              <a:buFont typeface="+mj-lt"/>
              <a:buAutoNum type="romanLcPeriod"/>
              <a:tabLst>
                <a:tab pos="1080135" algn="l"/>
                <a:tab pos="1085850" algn="l"/>
              </a:tabLst>
            </a:pPr>
            <a:r>
              <a:rPr lang="en-GB" sz="1000" kern="1600" dirty="0">
                <a:effectLst/>
                <a:latin typeface="Tahoma" panose="020B0604030504040204" pitchFamily="34" charset="0"/>
                <a:cs typeface="Times New Roman" panose="02020603050405020304" pitchFamily="18" charset="0"/>
              </a:rPr>
              <a:t>Adapt to the use of technology and evolving trends in the marketing and communication space. </a:t>
            </a:r>
            <a:endParaRPr lang="en-US" sz="1000" kern="1600" dirty="0">
              <a:effectLst/>
              <a:latin typeface="Tahoma" panose="020B0604030504040204" pitchFamily="34" charset="0"/>
              <a:cs typeface="Times New Roman" panose="02020603050405020304" pitchFamily="18" charset="0"/>
            </a:endParaRPr>
          </a:p>
          <a:p>
            <a:pPr marL="1143000" marR="27305" lvl="2" indent="-228600" algn="just">
              <a:lnSpc>
                <a:spcPct val="149000"/>
              </a:lnSpc>
              <a:spcAft>
                <a:spcPts val="420"/>
              </a:spcAft>
              <a:buFont typeface="+mj-lt"/>
              <a:buAutoNum type="alphaLcParenR"/>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Innovative ways of engagement and flexibility (cover non-management - and managerial employees)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1.	The Service Provider must be involved in on-site marketing and communication of services, campaigns and road shows.</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spcBef>
                <a:spcPts val="300"/>
              </a:spcBef>
              <a:spcAft>
                <a:spcPts val="835"/>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2.12.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Orientation sessions for managers and employees; and</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284069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3" name="TextBox 2">
            <a:extLst>
              <a:ext uri="{FF2B5EF4-FFF2-40B4-BE49-F238E27FC236}">
                <a16:creationId xmlns:a16="http://schemas.microsoft.com/office/drawing/2014/main" id="{2A4F52D3-A250-B9FB-1FB9-E1DDF2D5EDE5}"/>
              </a:ext>
            </a:extLst>
          </p:cNvPr>
          <p:cNvSpPr txBox="1"/>
          <p:nvPr/>
        </p:nvSpPr>
        <p:spPr>
          <a:xfrm>
            <a:off x="288000" y="973149"/>
            <a:ext cx="11532781" cy="5683607"/>
          </a:xfrm>
          <a:prstGeom prst="rect">
            <a:avLst/>
          </a:prstGeom>
          <a:noFill/>
        </p:spPr>
        <p:txBody>
          <a:bodyPr wrap="square">
            <a:spAutoFit/>
          </a:bodyPr>
          <a:lstStyle/>
          <a:p>
            <a:pPr marR="27305"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3.	The Service Provider must demonstrate marketing and communication expertise either internal to the company or as an outsourced competency.</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4.	Programme management</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a:lnSpc>
                <a:spcPct val="150000"/>
              </a:lnSpc>
              <a:spcBef>
                <a:spcPts val="300"/>
              </a:spcBef>
              <a:spcAft>
                <a:spcPts val="835"/>
              </a:spcAft>
            </a:pP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The programme management must include the following: </a:t>
            </a:r>
            <a:endParaRPr lang="en-US" sz="1000" b="1"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provision of an overall key account manager for the Service Level Agreement as well as dedicated account managers per Operating Division. The key account manager will work closely with Group Occupational Health and Wellness and the OD’s.</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service Provider must orientate their call centre agents, account managers and relevant functionaries to the business of Transnet; and</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Service Provider must have relevant expertise to be deployed to the different Transnet projects.</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Performance management.</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Integration, cross-referral among service providers e.g., EAP service providers, Occupational health service, medical aids and absence management service providers.</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Project Management skills will be expected of all human resources deployed to the Transnet accounts.</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Demonstration of quality management processes with all projects but in the generation of reports, statistics, and trend analyses for Transnet.</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mapping of processes in alignment with Transnet standard operating procedures and aligned to other internal functional areas or other Service Providers, to provide seamless services to employees is essential.</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Complaints and compliments system, accessible to the Transnet Employee Wellness  manager.</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Service Provider must demonstrate a return on investment which will underpin the quarterly review process of the SLA.</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Participation in various governance forums would be expected.</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Reports on relevant projects will be expected.</a:t>
            </a:r>
          </a:p>
          <a:p>
            <a:pPr marL="342900" marR="27305" lvl="0" indent="-342900" algn="just" fontAlgn="base">
              <a:lnSpc>
                <a:spcPct val="149000"/>
              </a:lnSpc>
              <a:spcBef>
                <a:spcPts val="0"/>
              </a:spcBef>
              <a:spcAft>
                <a:spcPts val="420"/>
              </a:spcAft>
              <a:buClr>
                <a:srgbClr val="000000"/>
              </a:buClr>
              <a:buSzPts val="900"/>
              <a:buFont typeface="+mj-lt"/>
              <a:buAutoNum type="alphaLcParenR"/>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Monthly statistical reports, quarterly statistical narrative reports, as well as annual reports are required. The service provider must be able to demonstrate the use of the service, the impact, and provide analytic feedback with recommendations.</a:t>
            </a:r>
          </a:p>
          <a:p>
            <a:pPr marR="27305" lvl="0" algn="just" fontAlgn="base">
              <a:lnSpc>
                <a:spcPct val="149000"/>
              </a:lnSpc>
              <a:spcBef>
                <a:spcPts val="0"/>
              </a:spcBef>
              <a:spcAft>
                <a:spcPts val="420"/>
              </a:spcAft>
              <a:buClr>
                <a:srgbClr val="000000"/>
              </a:buClr>
              <a:buSzPts val="900"/>
            </a:pPr>
            <a:endParaRPr lang="en-US" sz="9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111616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3" name="TextBox 2">
            <a:extLst>
              <a:ext uri="{FF2B5EF4-FFF2-40B4-BE49-F238E27FC236}">
                <a16:creationId xmlns:a16="http://schemas.microsoft.com/office/drawing/2014/main" id="{2A4F52D3-A250-B9FB-1FB9-E1DDF2D5EDE5}"/>
              </a:ext>
            </a:extLst>
          </p:cNvPr>
          <p:cNvSpPr txBox="1"/>
          <p:nvPr/>
        </p:nvSpPr>
        <p:spPr>
          <a:xfrm>
            <a:off x="138356" y="1003299"/>
            <a:ext cx="11532781" cy="5746701"/>
          </a:xfrm>
          <a:prstGeom prst="rect">
            <a:avLst/>
          </a:prstGeom>
          <a:noFill/>
        </p:spPr>
        <p:txBody>
          <a:bodyPr wrap="square">
            <a:spAutoFit/>
          </a:bodyPr>
          <a:lstStyle/>
          <a:p>
            <a:pPr marL="228600" marR="27305" lvl="0" indent="-228600" algn="just" fontAlgn="base">
              <a:lnSpc>
                <a:spcPct val="149000"/>
              </a:lnSpc>
              <a:spcBef>
                <a:spcPts val="0"/>
              </a:spcBef>
              <a:spcAft>
                <a:spcPts val="420"/>
              </a:spcAft>
              <a:buClr>
                <a:srgbClr val="000000"/>
              </a:buClr>
              <a:buSzPts val="900"/>
              <a:buAutoNum type="alphaLcParenR" startAt="14"/>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Ad-hoc reports may be requested as well as dashboard reporting for various EXCO meetings.</a:t>
            </a:r>
          </a:p>
          <a:p>
            <a:pPr marL="228600" marR="27305" lvl="0" indent="-228600" algn="just" fontAlgn="base">
              <a:lnSpc>
                <a:spcPct val="149000"/>
              </a:lnSpc>
              <a:spcBef>
                <a:spcPts val="0"/>
              </a:spcBef>
              <a:spcAft>
                <a:spcPts val="420"/>
              </a:spcAft>
              <a:buClr>
                <a:srgbClr val="000000"/>
              </a:buClr>
              <a:buSzPts val="900"/>
              <a:buAutoNum type="alphaLcParenR" startAt="14"/>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Employee satisfaction surveys will be expected after 6 months of the commencement of the SLA. The satisfaction survey must be immediate and after the service offering, with Transnet having the opportunity to have evidence of satisfaction without divulging participant information.</a:t>
            </a:r>
          </a:p>
          <a:p>
            <a:pPr marL="228600" marR="27305" lvl="0" indent="-228600" algn="just" fontAlgn="base">
              <a:lnSpc>
                <a:spcPct val="149000"/>
              </a:lnSpc>
              <a:spcBef>
                <a:spcPts val="0"/>
              </a:spcBef>
              <a:spcAft>
                <a:spcPts val="420"/>
              </a:spcAft>
              <a:buClr>
                <a:srgbClr val="000000"/>
              </a:buClr>
              <a:buSzPts val="900"/>
              <a:buAutoNum type="alphaLcParenR" startAt="14"/>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Electronic health information must be shared utilizing various means including PowerPoint presentations; and</a:t>
            </a:r>
          </a:p>
          <a:p>
            <a:pPr marL="228600" marR="27305" lvl="0" indent="-228600" algn="just" fontAlgn="base">
              <a:lnSpc>
                <a:spcPct val="149000"/>
              </a:lnSpc>
              <a:spcBef>
                <a:spcPts val="0"/>
              </a:spcBef>
              <a:spcAft>
                <a:spcPts val="420"/>
              </a:spcAft>
              <a:buClr>
                <a:srgbClr val="000000"/>
              </a:buClr>
              <a:buSzPts val="900"/>
              <a:buAutoNum type="alphaLcParenR" startAt="14"/>
            </a:pPr>
            <a:r>
              <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Account manager must meet with terminals/sites monthly.</a:t>
            </a:r>
          </a:p>
          <a:p>
            <a:pPr marR="27305" algn="just">
              <a:lnSpc>
                <a:spcPct val="150000"/>
              </a:lnSpc>
              <a:spcBef>
                <a:spcPts val="300"/>
              </a:spcBef>
              <a:spcAft>
                <a:spcPts val="835"/>
              </a:spcAft>
            </a:pPr>
            <a:r>
              <a:rPr lang="en-GB" sz="1000" b="1" dirty="0">
                <a:uFill>
                  <a:solidFill>
                    <a:srgbClr val="000000"/>
                  </a:solidFill>
                </a:uFill>
                <a:latin typeface="Tahoma" panose="020B0604030504040204" pitchFamily="34" charset="0"/>
                <a:cs typeface="Times New Roman" panose="02020603050405020304" pitchFamily="18" charset="0"/>
              </a:rPr>
              <a:t>2.15.	Monitoring and evaluation</a:t>
            </a:r>
          </a:p>
          <a:p>
            <a:pPr marR="27305" lvl="1" algn="just">
              <a:lnSpc>
                <a:spcPct val="150000"/>
              </a:lnSpc>
              <a:spcBef>
                <a:spcPts val="300"/>
              </a:spcBef>
              <a:spcAft>
                <a:spcPts val="835"/>
              </a:spcAft>
            </a:pPr>
            <a:r>
              <a:rPr lang="en-GB" sz="1000"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2.15.1.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Monitoring and </a:t>
            </a:r>
            <a:r>
              <a:rPr lang="en-GB" sz="1000" dirty="0">
                <a:latin typeface="Tahoma" panose="020B0604030504040204" pitchFamily="34" charset="0"/>
                <a:cs typeface="Times New Roman" panose="02020603050405020304" pitchFamily="18" charset="0"/>
              </a:rPr>
              <a:t>evaluation</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 should include the following:</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12000"/>
              </a:lnSpc>
              <a:spcAft>
                <a:spcPts val="865"/>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EAP Services must be monitored, and practical recommendations actioned.</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12000"/>
              </a:lnSpc>
              <a:spcAft>
                <a:spcPts val="865"/>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Internal functionaries must be supported with the implementation of recommendations.</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12000"/>
              </a:lnSpc>
              <a:spcAft>
                <a:spcPts val="865"/>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Reports must be customized according to the business requirements.</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12000"/>
              </a:lnSpc>
              <a:spcAft>
                <a:spcPts val="865"/>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rend analyses and evaluations of programmes are a prerequisite.</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12000"/>
              </a:lnSpc>
              <a:spcAft>
                <a:spcPts val="865"/>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he reporting must be configured in such a manner that it can integrate into Transnet business structures and areas.</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R="27305" algn="just">
              <a:spcBef>
                <a:spcPts val="300"/>
              </a:spcBef>
              <a:spcAft>
                <a:spcPts val="835"/>
              </a:spcAft>
            </a:pP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2.16.	Organisational Health (Fee for service structure)</a:t>
            </a:r>
            <a:endParaRPr lang="en-US" sz="1000" b="1"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algn="just">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	Organisational health should include the following:</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49000"/>
              </a:lnSpc>
              <a:spcAft>
                <a:spcPts val="420"/>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Coaching services for managers and executives to assist with new managers and were recommended as part of wellness and team interventions, including providing coaching for abrupt behaviour (coaching for the bully).</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49000"/>
              </a:lnSpc>
              <a:spcAft>
                <a:spcPts val="420"/>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Assist managers in terms of coaching or performance.</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49000"/>
              </a:lnSpc>
              <a:spcAft>
                <a:spcPts val="420"/>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Team health which includes assessments, recommendations and where required implementation of actual interventions.</a:t>
            </a:r>
            <a:endParaRPr lang="en-US"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800100" marR="27305" lvl="1" indent="-342900" algn="just" fontAlgn="base">
              <a:lnSpc>
                <a:spcPct val="149000"/>
              </a:lnSpc>
              <a:spcAft>
                <a:spcPts val="420"/>
              </a:spcAft>
              <a:buClr>
                <a:srgbClr val="000000"/>
              </a:buClr>
              <a:buSzPts val="900"/>
              <a:buFont typeface="+mj-lt"/>
              <a:buAutoNum type="alphaLcParenR"/>
            </a:pPr>
            <a:r>
              <a:rPr lang="en-GB" sz="10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rPr>
              <a:t>Assistance with the Exit Management process i.e., conduct exit interviews and data analysis.</a:t>
            </a:r>
            <a:endParaRPr lang="en-US" sz="1000" dirty="0">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a:p>
            <a:pPr marL="342900" marR="27305" lvl="0" indent="-342900" algn="just" fontAlgn="base">
              <a:lnSpc>
                <a:spcPct val="149000"/>
              </a:lnSpc>
              <a:spcBef>
                <a:spcPts val="0"/>
              </a:spcBef>
              <a:spcAft>
                <a:spcPts val="420"/>
              </a:spcAft>
              <a:buClr>
                <a:srgbClr val="000000"/>
              </a:buClr>
              <a:buSzPts val="900"/>
              <a:buFont typeface="+mj-lt"/>
              <a:buAutoNum type="alphaLcParenR"/>
            </a:pPr>
            <a:endParaRPr lang="en-US" sz="900" u="none" strike="noStrike" dirty="0">
              <a:effectLst/>
              <a:uFill>
                <a:solidFill>
                  <a:srgbClr val="000000"/>
                </a:solidFill>
              </a:uFill>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38300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3" name="TextBox 2">
            <a:extLst>
              <a:ext uri="{FF2B5EF4-FFF2-40B4-BE49-F238E27FC236}">
                <a16:creationId xmlns:a16="http://schemas.microsoft.com/office/drawing/2014/main" id="{AB930ED9-7AF5-FCB2-E1F2-86D91845FC28}"/>
              </a:ext>
            </a:extLst>
          </p:cNvPr>
          <p:cNvSpPr txBox="1"/>
          <p:nvPr/>
        </p:nvSpPr>
        <p:spPr>
          <a:xfrm>
            <a:off x="95693" y="920391"/>
            <a:ext cx="12096307" cy="5829609"/>
          </a:xfrm>
          <a:prstGeom prst="rect">
            <a:avLst/>
          </a:prstGeom>
          <a:noFill/>
        </p:spPr>
        <p:txBody>
          <a:bodyPr wrap="square">
            <a:spAutoFit/>
          </a:bodyPr>
          <a:lstStyle/>
          <a:p>
            <a:pPr marR="27305" algn="just" fontAlgn="base">
              <a:lnSpc>
                <a:spcPct val="149000"/>
              </a:lnSpc>
              <a:spcAft>
                <a:spcPts val="420"/>
              </a:spcAft>
              <a:buClr>
                <a:srgbClr val="000000"/>
              </a:buClr>
              <a:buSzPts val="900"/>
            </a:pPr>
            <a:r>
              <a:rPr lang="en-GB" sz="900" b="1" dirty="0">
                <a:effectLst/>
                <a:latin typeface="Tahoma" panose="020B0604030504040204" pitchFamily="34" charset="0"/>
                <a:ea typeface="Times New Roman" panose="02020603050405020304" pitchFamily="18" charset="0"/>
                <a:cs typeface="Times New Roman" panose="02020603050405020304" pitchFamily="18" charset="0"/>
              </a:rPr>
              <a:t>2.17.	</a:t>
            </a: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Key behaviours expected within the Transnet environment.</a:t>
            </a:r>
            <a:endParaRPr lang="en-US" sz="1000" b="1" dirty="0">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            2.17.1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 keen ability to understand business partnering and an ability to engage with various stakeholders. This includes HR, Safety and Risk, Occupational Health and many more.</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	2.17.2.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Partnership to work in co-operation with others Service Providers who manage components of the employee wellness function, to maximize in efficiencies. These could be related to disability, 		absenteeism management, HIV/AIDS, diseases management, amongst others.</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	2.17.3.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Service Provider must become an integral member of the Transnet team by understanding the environment in which they are rendering a service.</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	2.17.4.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he dynamics of transversal contract, value managed at a Group level but operationally managed at Operating Division level should also be factored into the Service Provider’s planning.</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	2.17.5.	An understanding that the current EAP has evolved beyond the basic generic service offering is key to this contract.</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	2.17.6.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imeous corrective actions where required on projects, services and challenges; and </a:t>
            </a:r>
          </a:p>
          <a:p>
            <a:pPr marR="27305" algn="just" fontAlgn="base">
              <a:lnSpc>
                <a:spcPct val="149000"/>
              </a:lnSpc>
              <a:spcAft>
                <a:spcPts val="420"/>
              </a:spcAft>
              <a:buClr>
                <a:srgbClr val="000000"/>
              </a:buClr>
              <a:buSzPts val="900"/>
            </a:pPr>
            <a:r>
              <a:rPr lang="en-GB" sz="1000" dirty="0">
                <a:latin typeface="Tahoma" panose="020B0604030504040204" pitchFamily="34" charset="0"/>
                <a:ea typeface="Times New Roman" panose="02020603050405020304" pitchFamily="18" charset="0"/>
                <a:cs typeface="Times New Roman" panose="02020603050405020304" pitchFamily="18" charset="0"/>
              </a:rPr>
              <a:t>	2.17.7.	</a:t>
            </a:r>
            <a:r>
              <a:rPr lang="en-US" sz="1000" dirty="0">
                <a:latin typeface="Tahoma" panose="020B0604030504040204" pitchFamily="34" charset="0"/>
                <a:ea typeface="Times New Roman" panose="02020603050405020304" pitchFamily="18" charset="0"/>
                <a:cs typeface="Times New Roman" panose="02020603050405020304" pitchFamily="18" charset="0"/>
              </a:rPr>
              <a:t>An ability to be flexible, adaptable and to manage the function within tight organizationally imposed deadlines.</a:t>
            </a:r>
          </a:p>
          <a:p>
            <a:pPr marR="27305" algn="just">
              <a:lnSpc>
                <a:spcPct val="150000"/>
              </a:lnSpc>
              <a:spcBef>
                <a:spcPts val="300"/>
              </a:spcBef>
              <a:spcAft>
                <a:spcPts val="835"/>
              </a:spcAft>
            </a:pPr>
            <a:r>
              <a:rPr lang="en-GB" sz="1000" b="1" dirty="0">
                <a:latin typeface="Tahoma" panose="020B0604030504040204" pitchFamily="34" charset="0"/>
                <a:ea typeface="Times New Roman" panose="02020603050405020304" pitchFamily="18" charset="0"/>
                <a:cs typeface="Times New Roman" panose="02020603050405020304" pitchFamily="18" charset="0"/>
              </a:rPr>
              <a:t>2.18.	</a:t>
            </a: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General </a:t>
            </a:r>
            <a:endParaRPr lang="en-US" sz="1000" b="1"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8.1.	Respondents should note that Transnet requires a one (1) month handover period at no charge, commencing from the date of the award of business (clinical cases agreement between the new 	and old service provider).</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8.2.	Transnet also required in respondents to be able to retain the current Transnet Employee Assistance Program Toll Free number.</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8.3.	A system that can easily track a case by surname, SAP/employee number, ID number as the identifier for the clinical team; (POPI, Act.) client consent.  </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8.4.	Intellectual Property of any new content development remains the property of Transnet.</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8.5.	As Transnet pursues more digital platforms for efficiency and in alignment with its 4IR strategy, the contracted service provider needs to demonstrate value added services such as mobile apps, 	gamification ability amongst others; and</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lvl="1" algn="just">
              <a:lnSpc>
                <a:spcPct val="150000"/>
              </a:lnSpc>
              <a:spcBef>
                <a:spcPts val="300"/>
              </a:spcBef>
              <a:spcAft>
                <a:spcPts val="835"/>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8.6.	The service provider must ensure personal and professional liability insurance for the affiliates who come onto Transnet premises.</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27305" algn="just" fontAlgn="base">
              <a:lnSpc>
                <a:spcPct val="149000"/>
              </a:lnSpc>
              <a:spcAft>
                <a:spcPts val="420"/>
              </a:spcAft>
              <a:buClr>
                <a:srgbClr val="000000"/>
              </a:buClr>
              <a:buSzPts val="900"/>
            </a:pP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15125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3" name="TextBox 2">
            <a:extLst>
              <a:ext uri="{FF2B5EF4-FFF2-40B4-BE49-F238E27FC236}">
                <a16:creationId xmlns:a16="http://schemas.microsoft.com/office/drawing/2014/main" id="{58103CFD-9DEB-41BE-D7F7-9FF25C45F7B7}"/>
              </a:ext>
            </a:extLst>
          </p:cNvPr>
          <p:cNvSpPr txBox="1"/>
          <p:nvPr/>
        </p:nvSpPr>
        <p:spPr>
          <a:xfrm>
            <a:off x="288000" y="978958"/>
            <a:ext cx="11094375" cy="2984856"/>
          </a:xfrm>
          <a:prstGeom prst="rect">
            <a:avLst/>
          </a:prstGeom>
          <a:noFill/>
        </p:spPr>
        <p:txBody>
          <a:bodyPr wrap="square">
            <a:spAutoFit/>
          </a:bodyPr>
          <a:lstStyle/>
          <a:p>
            <a:pPr marR="27305" algn="just">
              <a:lnSpc>
                <a:spcPct val="150000"/>
              </a:lnSpc>
              <a:spcBef>
                <a:spcPts val="300"/>
              </a:spcBef>
              <a:spcAft>
                <a:spcPts val="835"/>
              </a:spcAft>
            </a:pPr>
            <a:r>
              <a:rPr lang="en-GB" sz="1000" b="1" dirty="0">
                <a:effectLst/>
                <a:latin typeface="Tahoma" panose="020B0604030504040204" pitchFamily="34" charset="0"/>
                <a:ea typeface="Times New Roman" panose="02020603050405020304" pitchFamily="18" charset="0"/>
                <a:cs typeface="Times New Roman" panose="02020603050405020304" pitchFamily="18" charset="0"/>
              </a:rPr>
              <a:t>2.19.	Benefits to Transnet </a:t>
            </a:r>
            <a:endParaRPr lang="en-US" sz="1000" b="1" dirty="0">
              <a:latin typeface="Tahoma" panose="020B0604030504040204" pitchFamily="34" charset="0"/>
              <a:ea typeface="Times New Roman" panose="02020603050405020304" pitchFamily="18" charset="0"/>
              <a:cs typeface="Times New Roman" panose="02020603050405020304" pitchFamily="18" charset="0"/>
            </a:endParaRPr>
          </a:p>
          <a:p>
            <a:pPr marR="27305" algn="just">
              <a:lnSpc>
                <a:spcPct val="150000"/>
              </a:lnSpc>
              <a:spcBef>
                <a:spcPts val="300"/>
              </a:spcBef>
              <a:spcAft>
                <a:spcPts val="835"/>
              </a:spcAft>
            </a:pPr>
            <a:r>
              <a:rPr lang="en-US" sz="1000" b="1" dirty="0">
                <a:effectLst/>
                <a:latin typeface="Tahoma" panose="020B0604030504040204" pitchFamily="34" charset="0"/>
                <a:ea typeface="Times New Roman" panose="02020603050405020304" pitchFamily="18" charset="0"/>
                <a:cs typeface="Times New Roman" panose="02020603050405020304" pitchFamily="18" charset="0"/>
              </a:rPr>
              <a:t>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2.19.1.	Transnet must be able to receive reduced cost of acquisition and improved service benefits resulting from the economies of scale. </a:t>
            </a:r>
            <a:endParaRPr lang="en-US" sz="1000" dirty="0">
              <a:latin typeface="Tahoma" panose="020B0604030504040204" pitchFamily="34" charset="0"/>
              <a:ea typeface="Times New Roman" panose="02020603050405020304" pitchFamily="18" charset="0"/>
              <a:cs typeface="Times New Roman" panose="02020603050405020304" pitchFamily="18" charset="0"/>
            </a:endParaRPr>
          </a:p>
          <a:p>
            <a:pPr marR="27305" algn="just">
              <a:lnSpc>
                <a:spcPct val="150000"/>
              </a:lnSpc>
              <a:spcBef>
                <a:spcPts val="300"/>
              </a:spcBef>
              <a:spcAft>
                <a:spcPts val="835"/>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	2.1</a:t>
            </a:r>
            <a:r>
              <a:rPr lang="en-US" sz="1000" dirty="0">
                <a:latin typeface="Tahoma" panose="020B0604030504040204" pitchFamily="34" charset="0"/>
                <a:ea typeface="Times New Roman" panose="02020603050405020304" pitchFamily="18" charset="0"/>
                <a:cs typeface="Times New Roman" panose="02020603050405020304" pitchFamily="18" charset="0"/>
              </a:rPr>
              <a:t>9.2.	</a:t>
            </a: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ransnet must be able to satisfy user needs through the service provider ensuring maximum accessibility to the service through different media.</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0" lvl="0">
              <a:lnSpc>
                <a:spcPct val="150000"/>
              </a:lnSpc>
              <a:spcBef>
                <a:spcPts val="1200"/>
              </a:spcBef>
              <a:spcAft>
                <a:spcPts val="0"/>
              </a:spcAft>
              <a:tabLst>
                <a:tab pos="360045" algn="l"/>
                <a:tab pos="457200" algn="l"/>
              </a:tabLst>
            </a:pPr>
            <a:r>
              <a:rPr lang="en-GB" sz="1000" b="1" kern="1600" cap="all" dirty="0">
                <a:effectLst/>
                <a:latin typeface="Tahoma" panose="020B0604030504040204" pitchFamily="34" charset="0"/>
                <a:cs typeface="Times New Roman" panose="02020603050405020304" pitchFamily="18" charset="0"/>
              </a:rPr>
              <a:t>3.	GREEN ECONOMY / CARBON FOOTPRINT</a:t>
            </a:r>
            <a:endParaRPr lang="en-US" sz="1000" b="1" kern="1600" cap="all" dirty="0">
              <a:effectLst/>
              <a:latin typeface="Tahoma" panose="020B0604030504040204" pitchFamily="34" charset="0"/>
              <a:cs typeface="Times New Roman" panose="02020603050405020304" pitchFamily="18" charset="0"/>
            </a:endParaRPr>
          </a:p>
          <a:p>
            <a:pPr marL="360045" marR="0" algn="just">
              <a:lnSpc>
                <a:spcPct val="150000"/>
              </a:lnSpc>
              <a:spcBef>
                <a:spcPts val="600"/>
              </a:spcBef>
              <a:spcAft>
                <a:spcPts val="0"/>
              </a:spcAft>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Transnet wishes to have an understanding of your company’s position with regard to environmental commitments, including key environmental characteristics such as waste disposal, recycling and energy conservation.  </a:t>
            </a:r>
            <a:r>
              <a:rPr lang="en-GB" sz="1000" i="1" dirty="0">
                <a:effectLst/>
                <a:latin typeface="Tahoma" panose="020B0604030504040204" pitchFamily="34" charset="0"/>
                <a:ea typeface="Times New Roman" panose="02020603050405020304" pitchFamily="18" charset="0"/>
                <a:cs typeface="Times New Roman" panose="02020603050405020304" pitchFamily="18" charset="0"/>
              </a:rPr>
              <a:t>Please submit details of your entity’s policies in this regard. </a:t>
            </a: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R="0" lvl="0">
              <a:lnSpc>
                <a:spcPct val="150000"/>
              </a:lnSpc>
              <a:spcBef>
                <a:spcPts val="1200"/>
              </a:spcBef>
              <a:spcAft>
                <a:spcPts val="0"/>
              </a:spcAft>
              <a:tabLst>
                <a:tab pos="360045" algn="l"/>
                <a:tab pos="457200" algn="l"/>
              </a:tabLst>
            </a:pPr>
            <a:r>
              <a:rPr lang="en-GB" sz="1000" b="1" kern="1600" cap="all" dirty="0">
                <a:effectLst/>
                <a:latin typeface="Tahoma" panose="020B0604030504040204" pitchFamily="34" charset="0"/>
                <a:cs typeface="Times New Roman" panose="02020603050405020304" pitchFamily="18" charset="0"/>
              </a:rPr>
              <a:t>4.	GENERAL SERVICE PROVIDER OBLIGATIONS</a:t>
            </a:r>
            <a:endParaRPr lang="en-US" sz="1000" b="1" kern="1600" cap="all" dirty="0">
              <a:effectLst/>
              <a:latin typeface="Tahoma" panose="020B0604030504040204" pitchFamily="34" charset="0"/>
              <a:cs typeface="Times New Roman" panose="02020603050405020304" pitchFamily="18" charset="0"/>
            </a:endParaRPr>
          </a:p>
          <a:p>
            <a:pPr marR="0" lvl="1" algn="just">
              <a:lnSpc>
                <a:spcPct val="150000"/>
              </a:lnSpc>
              <a:spcBef>
                <a:spcPts val="300"/>
              </a:spcBef>
              <a:spcAft>
                <a:spcPts val="0"/>
              </a:spcAft>
              <a:tabLst>
                <a:tab pos="540385" algn="l"/>
                <a:tab pos="457200" algn="l"/>
              </a:tabLst>
            </a:pPr>
            <a:r>
              <a:rPr lang="en-GB" sz="1000" kern="1600" dirty="0">
                <a:effectLst/>
                <a:latin typeface="Tahoma" panose="020B0604030504040204" pitchFamily="34" charset="0"/>
                <a:cs typeface="Times New Roman" panose="02020603050405020304" pitchFamily="18" charset="0"/>
              </a:rPr>
              <a:t>4.1	The Service provider(s) shall be fully responsible to Transnet for the acts and omissions of persons directly or indirectly employed by them.</a:t>
            </a:r>
            <a:endParaRPr lang="en-US" sz="1000" kern="1600" dirty="0">
              <a:effectLst/>
              <a:latin typeface="Tahoma" panose="020B0604030504040204" pitchFamily="34" charset="0"/>
              <a:cs typeface="Times New Roman" panose="02020603050405020304" pitchFamily="18" charset="0"/>
            </a:endParaRPr>
          </a:p>
          <a:p>
            <a:pPr marR="0" lvl="1" algn="just">
              <a:lnSpc>
                <a:spcPct val="150000"/>
              </a:lnSpc>
              <a:spcBef>
                <a:spcPts val="300"/>
              </a:spcBef>
              <a:spcAft>
                <a:spcPts val="0"/>
              </a:spcAft>
              <a:tabLst>
                <a:tab pos="540385" algn="l"/>
                <a:tab pos="457200" algn="l"/>
              </a:tabLst>
            </a:pPr>
            <a:r>
              <a:rPr lang="en-GB" sz="1000" kern="1600" dirty="0">
                <a:effectLst/>
                <a:latin typeface="Tahoma" panose="020B0604030504040204" pitchFamily="34" charset="0"/>
                <a:cs typeface="Times New Roman" panose="02020603050405020304" pitchFamily="18" charset="0"/>
              </a:rPr>
              <a:t>4.2	The Service provider(s) must comply with the requirements stated in this RFP.</a:t>
            </a:r>
            <a:endParaRPr lang="en-US" sz="1000" kern="1600" dirty="0">
              <a:effectLst/>
              <a:latin typeface="Tahom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1917816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1">
            <a:extLst>
              <a:ext uri="{FF2B5EF4-FFF2-40B4-BE49-F238E27FC236}">
                <a16:creationId xmlns:a16="http://schemas.microsoft.com/office/drawing/2014/main" id="{DE0DA2DE-03F7-09AD-73F1-C949E5416CAB}"/>
              </a:ext>
            </a:extLst>
          </p:cNvPr>
          <p:cNvGraphicFramePr>
            <a:graphicFrameLocks noGrp="1"/>
          </p:cNvGraphicFramePr>
          <p:nvPr>
            <p:extLst>
              <p:ext uri="{D42A27DB-BD31-4B8C-83A1-F6EECF244321}">
                <p14:modId xmlns:p14="http://schemas.microsoft.com/office/powerpoint/2010/main" val="3736600148"/>
              </p:ext>
            </p:extLst>
          </p:nvPr>
        </p:nvGraphicFramePr>
        <p:xfrm>
          <a:off x="1303455" y="1424763"/>
          <a:ext cx="10283561" cy="5491711"/>
        </p:xfrm>
        <a:graphic>
          <a:graphicData uri="http://schemas.openxmlformats.org/drawingml/2006/table">
            <a:tbl>
              <a:tblPr firstRow="1" bandRow="1">
                <a:tableStyleId>{5C22544A-7EE6-4342-B048-85BDC9FD1C3A}</a:tableStyleId>
              </a:tblPr>
              <a:tblGrid>
                <a:gridCol w="610285">
                  <a:extLst>
                    <a:ext uri="{9D8B030D-6E8A-4147-A177-3AD203B41FA5}">
                      <a16:colId xmlns:a16="http://schemas.microsoft.com/office/drawing/2014/main" val="2208968794"/>
                    </a:ext>
                  </a:extLst>
                </a:gridCol>
                <a:gridCol w="3024000">
                  <a:extLst>
                    <a:ext uri="{9D8B030D-6E8A-4147-A177-3AD203B41FA5}">
                      <a16:colId xmlns:a16="http://schemas.microsoft.com/office/drawing/2014/main" val="1314826358"/>
                    </a:ext>
                  </a:extLst>
                </a:gridCol>
                <a:gridCol w="1524081">
                  <a:extLst>
                    <a:ext uri="{9D8B030D-6E8A-4147-A177-3AD203B41FA5}">
                      <a16:colId xmlns:a16="http://schemas.microsoft.com/office/drawing/2014/main" val="1801552601"/>
                    </a:ext>
                  </a:extLst>
                </a:gridCol>
                <a:gridCol w="5125195">
                  <a:extLst>
                    <a:ext uri="{9D8B030D-6E8A-4147-A177-3AD203B41FA5}">
                      <a16:colId xmlns:a16="http://schemas.microsoft.com/office/drawing/2014/main" val="1153813624"/>
                    </a:ext>
                  </a:extLst>
                </a:gridCol>
              </a:tblGrid>
              <a:tr h="673593">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1</a:t>
                      </a: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1" i="0" kern="1200" dirty="0">
                          <a:solidFill>
                            <a:schemeClr val="tx1">
                              <a:lumMod val="95000"/>
                              <a:lumOff val="5000"/>
                            </a:schemeClr>
                          </a:solidFill>
                          <a:latin typeface="Apex New Book" panose="02010600040501010103" pitchFamily="2" charset="77"/>
                          <a:ea typeface="Apex New Medium" panose="02010600040501010103" pitchFamily="2" charset="77"/>
                          <a:cs typeface="+mn-cs"/>
                        </a:rPr>
                        <a:t>Welcome and Introductions</a:t>
                      </a: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10min</a:t>
                      </a: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rPr>
                        <a:t>Nhlanhla Caluza </a:t>
                      </a:r>
                    </a:p>
                    <a:p>
                      <a:pPr marL="0" marR="0" lvl="0" indent="0" algn="l" defTabSz="1828343" rtl="0" eaLnBrk="1" fontAlgn="auto" latinLnBrk="0" hangingPunct="1">
                        <a:lnSpc>
                          <a:spcPct val="100000"/>
                        </a:lnSpc>
                        <a:spcBef>
                          <a:spcPts val="0"/>
                        </a:spcBef>
                        <a:spcAft>
                          <a:spcPts val="0"/>
                        </a:spcAft>
                        <a:buClrTx/>
                        <a:buSzTx/>
                        <a:buFontTx/>
                        <a:buNone/>
                        <a:tabLst/>
                        <a:defRPr/>
                      </a:pPr>
                      <a:endPar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endParaRPr>
                    </a:p>
                  </a:txBody>
                  <a:tcPr marL="45720" marR="45720" marT="72000" marB="22860">
                    <a:lnL w="12700" cmpd="sng">
                      <a:noFill/>
                    </a:lnL>
                    <a:lnR w="12700" cmpd="sng">
                      <a:noFill/>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51745"/>
                  </a:ext>
                </a:extLst>
              </a:tr>
              <a:tr h="1129205">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2</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779173" rtl="0" eaLnBrk="1" latinLnBrk="0" hangingPunct="1"/>
                      <a:r>
                        <a:rPr lang="en-US" sz="1800" b="1" i="0" kern="1200" dirty="0">
                          <a:solidFill>
                            <a:schemeClr val="tx1">
                              <a:lumMod val="95000"/>
                              <a:lumOff val="5000"/>
                            </a:schemeClr>
                          </a:solidFill>
                          <a:latin typeface="Apex New Book" panose="02010600040501010103" pitchFamily="2" charset="77"/>
                          <a:ea typeface="Apex New Medium" panose="02010600040501010103" pitchFamily="2" charset="77"/>
                          <a:cs typeface="+mn-cs"/>
                        </a:rPr>
                        <a:t>Rules of Engagement</a:t>
                      </a:r>
                    </a:p>
                    <a:p>
                      <a:pPr marL="285750" indent="-285750">
                        <a:buFontTx/>
                        <a:buChar char="-"/>
                      </a:pPr>
                      <a:r>
                        <a:rPr lang="en-US" sz="1600" b="0" i="0" dirty="0">
                          <a:solidFill>
                            <a:schemeClr val="tx1">
                              <a:lumMod val="75000"/>
                              <a:lumOff val="25000"/>
                            </a:schemeClr>
                          </a:solidFill>
                          <a:latin typeface="Apex New Medium" panose="02010600040501010103" pitchFamily="2" charset="77"/>
                          <a:ea typeface="Apex New Medium" panose="02010600040501010103" pitchFamily="2" charset="77"/>
                        </a:rPr>
                        <a:t>Timeline and key dates</a:t>
                      </a:r>
                    </a:p>
                    <a:p>
                      <a:pPr marL="285750" indent="-285750">
                        <a:buFontTx/>
                        <a:buChar char="-"/>
                      </a:pPr>
                      <a:r>
                        <a:rPr lang="en-US" sz="1600" b="0" i="0" dirty="0">
                          <a:solidFill>
                            <a:schemeClr val="tx1">
                              <a:lumMod val="75000"/>
                              <a:lumOff val="25000"/>
                            </a:schemeClr>
                          </a:solidFill>
                          <a:latin typeface="Apex New Medium" panose="02010600040501010103" pitchFamily="2" charset="77"/>
                          <a:ea typeface="Apex New Medium" panose="02010600040501010103" pitchFamily="2" charset="77"/>
                        </a:rPr>
                        <a:t>Submission Guidelines</a:t>
                      </a:r>
                    </a:p>
                    <a:p>
                      <a:pPr marL="0" indent="0">
                        <a:buFontTx/>
                        <a:buNone/>
                      </a:pPr>
                      <a:endParaRPr lang="en-US" sz="16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5min</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rPr>
                        <a:t>Nhlanhla Caluza </a:t>
                      </a:r>
                      <a:endParaRPr lang="en-US"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5142023"/>
                  </a:ext>
                </a:extLst>
              </a:tr>
              <a:tr h="1247890">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3</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1" i="0" kern="1200" dirty="0">
                          <a:solidFill>
                            <a:schemeClr val="tx1">
                              <a:lumMod val="95000"/>
                              <a:lumOff val="5000"/>
                            </a:schemeClr>
                          </a:solidFill>
                          <a:latin typeface="Apex New Book" panose="02010600040501010103" pitchFamily="2" charset="77"/>
                          <a:ea typeface="Apex New Medium" panose="02010600040501010103" pitchFamily="2" charset="77"/>
                          <a:cs typeface="+mn-cs"/>
                        </a:rPr>
                        <a:t>Scope of Work</a:t>
                      </a:r>
                    </a:p>
                    <a:p>
                      <a:pPr marL="285750" indent="-285750">
                        <a:buFontTx/>
                        <a:buChar char="-"/>
                      </a:pPr>
                      <a:r>
                        <a:rPr lang="en-US" sz="1600" b="0" i="0" dirty="0">
                          <a:solidFill>
                            <a:schemeClr val="tx1">
                              <a:lumMod val="75000"/>
                              <a:lumOff val="25000"/>
                            </a:schemeClr>
                          </a:solidFill>
                          <a:latin typeface="Apex New Medium" panose="02010600040501010103" pitchFamily="2" charset="77"/>
                          <a:ea typeface="Apex New Medium" panose="02010600040501010103" pitchFamily="2" charset="77"/>
                        </a:rPr>
                        <a:t>Key Deliverables</a:t>
                      </a:r>
                    </a:p>
                    <a:p>
                      <a:endParaRPr lang="en-US" sz="16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25min</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Dr Christinah Maphanga </a:t>
                      </a:r>
                    </a:p>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Zikhona Ramncwana </a:t>
                      </a:r>
                    </a:p>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Phiwe Mbana </a:t>
                      </a:r>
                    </a:p>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Khanyisile Bhengu</a:t>
                      </a:r>
                      <a:endPar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5797243"/>
                  </a:ext>
                </a:extLst>
              </a:tr>
              <a:tr h="896932">
                <a:tc>
                  <a:txBody>
                    <a:bodyPr/>
                    <a:lstStyle/>
                    <a:p>
                      <a:r>
                        <a:rPr lang="en-US" sz="1800" b="1" i="0" dirty="0">
                          <a:solidFill>
                            <a:schemeClr val="tx1">
                              <a:lumMod val="75000"/>
                              <a:lumOff val="25000"/>
                            </a:schemeClr>
                          </a:solidFill>
                          <a:latin typeface="Apex New Heavy" panose="02010600040501010103" pitchFamily="2" charset="77"/>
                          <a:ea typeface="Apex New Heavy" panose="02010600040501010103" pitchFamily="2" charset="77"/>
                        </a:rPr>
                        <a:t>04</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779173" rtl="0" eaLnBrk="1" latinLnBrk="0" hangingPunct="1"/>
                      <a:r>
                        <a:rPr lang="en-US" sz="1800" b="1" i="0" kern="1200" dirty="0">
                          <a:solidFill>
                            <a:schemeClr val="tx1">
                              <a:lumMod val="95000"/>
                              <a:lumOff val="5000"/>
                            </a:schemeClr>
                          </a:solidFill>
                          <a:latin typeface="Apex New Book" panose="02010600040501010103" pitchFamily="2" charset="77"/>
                          <a:ea typeface="Apex New Medium" panose="02010600040501010103" pitchFamily="2" charset="77"/>
                          <a:cs typeface="+mn-cs"/>
                        </a:rPr>
                        <a:t>Procurement Process</a:t>
                      </a:r>
                    </a:p>
                    <a:p>
                      <a:pPr marL="285750" indent="-285750">
                        <a:buFontTx/>
                        <a:buChar char="-"/>
                      </a:pPr>
                      <a:r>
                        <a:rPr lang="en-US" sz="1600" b="0" i="0" dirty="0">
                          <a:solidFill>
                            <a:schemeClr val="tx1">
                              <a:lumMod val="75000"/>
                              <a:lumOff val="25000"/>
                            </a:schemeClr>
                          </a:solidFill>
                          <a:latin typeface="Apex New Medium" panose="02010600040501010103" pitchFamily="2" charset="77"/>
                          <a:ea typeface="Apex New Medium" panose="02010600040501010103" pitchFamily="2" charset="77"/>
                        </a:rPr>
                        <a:t>Submission Guidelines</a:t>
                      </a:r>
                    </a:p>
                    <a:p>
                      <a:endParaRPr lang="en-US" sz="16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10min</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rPr>
                        <a:t>Nhlanhla Caluza</a:t>
                      </a:r>
                      <a:endParaRPr lang="en-US"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4512634"/>
                  </a:ext>
                </a:extLst>
              </a:tr>
              <a:tr h="896932">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4</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779173" rtl="0" eaLnBrk="1" latinLnBrk="0" hangingPunct="1"/>
                      <a:r>
                        <a:rPr lang="en-US" sz="1800" b="1" i="0" kern="1200" dirty="0">
                          <a:solidFill>
                            <a:schemeClr val="tx1">
                              <a:lumMod val="95000"/>
                              <a:lumOff val="5000"/>
                            </a:schemeClr>
                          </a:solidFill>
                          <a:latin typeface="Apex New Book" panose="02010600040501010103" pitchFamily="2" charset="77"/>
                          <a:ea typeface="Apex New Medium" panose="02010600040501010103" pitchFamily="2" charset="77"/>
                          <a:cs typeface="+mn-cs"/>
                        </a:rPr>
                        <a:t>Evaluation Methodology</a:t>
                      </a:r>
                    </a:p>
                    <a:p>
                      <a:pPr marL="285750" indent="-285750">
                        <a:buFontTx/>
                        <a:buChar char="-"/>
                      </a:pPr>
                      <a:r>
                        <a:rPr lang="en-US" sz="1600" b="0" i="0" dirty="0">
                          <a:solidFill>
                            <a:schemeClr val="tx1">
                              <a:lumMod val="75000"/>
                              <a:lumOff val="25000"/>
                            </a:schemeClr>
                          </a:solidFill>
                          <a:latin typeface="Apex New Medium" panose="02010600040501010103" pitchFamily="2" charset="77"/>
                          <a:ea typeface="Apex New Medium" panose="02010600040501010103" pitchFamily="2" charset="77"/>
                        </a:rPr>
                        <a:t>Evaluation Criteria</a:t>
                      </a:r>
                    </a:p>
                    <a:p>
                      <a:pPr marL="0" indent="0">
                        <a:buFontTx/>
                        <a:buNone/>
                      </a:pPr>
                      <a:endParaRPr lang="en-US" sz="16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10min</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rPr>
                        <a:t>Nhlanhla Caluza</a:t>
                      </a:r>
                      <a:endParaRPr lang="en-US"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495685"/>
                  </a:ext>
                </a:extLst>
              </a:tr>
              <a:tr h="647159">
                <a:tc>
                  <a:txBody>
                    <a:bodyPr/>
                    <a:lstStyle/>
                    <a:p>
                      <a:r>
                        <a:rPr lang="en-US" sz="1800" b="1" i="0">
                          <a:solidFill>
                            <a:schemeClr val="tx1">
                              <a:lumMod val="75000"/>
                              <a:lumOff val="25000"/>
                            </a:schemeClr>
                          </a:solidFill>
                          <a:latin typeface="Apex New Heavy" panose="02010600040501010103" pitchFamily="2" charset="77"/>
                          <a:ea typeface="Apex New Heavy" panose="02010600040501010103" pitchFamily="2" charset="77"/>
                        </a:rPr>
                        <a:t>05</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Q/A</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800" b="0" i="0" kern="1200" dirty="0">
                          <a:solidFill>
                            <a:schemeClr val="tx1">
                              <a:lumMod val="75000"/>
                              <a:lumOff val="25000"/>
                            </a:schemeClr>
                          </a:solidFill>
                          <a:latin typeface="Apex New Book" panose="02010600040501010103" pitchFamily="2" charset="77"/>
                          <a:ea typeface="Apex New Book" panose="02010600040501010103" pitchFamily="2" charset="77"/>
                          <a:cs typeface="+mn-cs"/>
                        </a:rPr>
                        <a:t>5min</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rPr>
                        <a:t>Nhlanhla Caluza</a:t>
                      </a:r>
                      <a:endParaRPr lang="en-US" sz="1800" b="0" i="0" kern="1200" noProof="0" dirty="0">
                        <a:solidFill>
                          <a:schemeClr val="tx1">
                            <a:lumMod val="75000"/>
                            <a:lumOff val="25000"/>
                          </a:schemeClr>
                        </a:solidFill>
                        <a:latin typeface="Apex New Book" panose="02010600040501010103" pitchFamily="2" charset="77"/>
                        <a:ea typeface="Apex New Book" panose="02010600040501010103" pitchFamily="2" charset="77"/>
                        <a:cs typeface="+mn-cs"/>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8356064"/>
                  </a:ext>
                </a:extLst>
              </a:tr>
            </a:tbl>
          </a:graphicData>
        </a:graphic>
      </p:graphicFrame>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30" name="Text Placeholder 129">
            <a:extLst>
              <a:ext uri="{FF2B5EF4-FFF2-40B4-BE49-F238E27FC236}">
                <a16:creationId xmlns:a16="http://schemas.microsoft.com/office/drawing/2014/main" id="{EF382210-A450-6F80-3314-8A2842F91CA5}"/>
              </a:ext>
            </a:extLst>
          </p:cNvPr>
          <p:cNvSpPr>
            <a:spLocks noGrp="1"/>
          </p:cNvSpPr>
          <p:nvPr>
            <p:ph type="body" sz="quarter" idx="16"/>
          </p:nvPr>
        </p:nvSpPr>
        <p:spPr/>
        <p:txBody>
          <a:bodyPr/>
          <a:lstStyle/>
          <a:p>
            <a:r>
              <a:rPr lang="en-US" dirty="0">
                <a:solidFill>
                  <a:schemeClr val="tx1">
                    <a:lumMod val="75000"/>
                    <a:lumOff val="25000"/>
                  </a:schemeClr>
                </a:solidFill>
              </a:rPr>
              <a:t>Time allocation and presenters</a:t>
            </a:r>
          </a:p>
        </p:txBody>
      </p:sp>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a:xfrm>
            <a:off x="288000" y="106234"/>
            <a:ext cx="10079725" cy="461665"/>
          </a:xfrm>
        </p:spPr>
        <p:txBody>
          <a:bodyPr/>
          <a:lstStyle/>
          <a:p>
            <a:r>
              <a:rPr lang="en-US" sz="2400" dirty="0"/>
              <a:t>AGENDA</a:t>
            </a:r>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ZA" sz="767" b="1" i="0" u="none" strike="noStrike" kern="1200" cap="none" spc="0" normalizeH="0" baseline="0" noProof="0">
              <a:ln>
                <a:noFill/>
              </a:ln>
              <a:solidFill>
                <a:srgbClr val="FFFFFF"/>
              </a:solidFill>
              <a:effectLst/>
              <a:uLnTx/>
              <a:uFillTx/>
              <a:latin typeface="Tahoma"/>
              <a:ea typeface="+mn-ea"/>
              <a:cs typeface="+mn-cs"/>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619615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681C6F-35CD-EEB7-5FE6-BB5819B50C52}"/>
              </a:ext>
            </a:extLst>
          </p:cNvPr>
          <p:cNvSpPr/>
          <p:nvPr/>
        </p:nvSpPr>
        <p:spPr>
          <a:xfrm>
            <a:off x="0" y="0"/>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2" name="Freeform 1">
            <a:extLst>
              <a:ext uri="{FF2B5EF4-FFF2-40B4-BE49-F238E27FC236}">
                <a16:creationId xmlns:a16="http://schemas.microsoft.com/office/drawing/2014/main" id="{3BB95173-D454-AF97-C95E-3E044B9B7FE4}"/>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3" name="Rectangle 2">
            <a:extLst>
              <a:ext uri="{FF2B5EF4-FFF2-40B4-BE49-F238E27FC236}">
                <a16:creationId xmlns:a16="http://schemas.microsoft.com/office/drawing/2014/main" id="{E8839E4A-A270-8325-7BE7-18C3F3F11C29}"/>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ZA" sz="767" b="1" i="0" u="none" strike="noStrike" kern="1200" cap="none" spc="0" normalizeH="0" baseline="0" noProof="0">
              <a:ln>
                <a:noFill/>
              </a:ln>
              <a:solidFill>
                <a:srgbClr val="FFFFFF"/>
              </a:solidFill>
              <a:effectLst/>
              <a:uLnTx/>
              <a:uFillTx/>
              <a:latin typeface="Tahoma"/>
              <a:ea typeface="+mn-ea"/>
              <a:cs typeface="+mn-cs"/>
            </a:endParaRPr>
          </a:p>
        </p:txBody>
      </p:sp>
      <p:pic>
        <p:nvPicPr>
          <p:cNvPr id="18" name="Picture 17">
            <a:extLst>
              <a:ext uri="{FF2B5EF4-FFF2-40B4-BE49-F238E27FC236}">
                <a16:creationId xmlns:a16="http://schemas.microsoft.com/office/drawing/2014/main" id="{3FDD13CD-7791-221D-11E1-C8D18F3EEEF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9" name="Rectangle 8">
            <a:extLst>
              <a:ext uri="{FF2B5EF4-FFF2-40B4-BE49-F238E27FC236}">
                <a16:creationId xmlns:a16="http://schemas.microsoft.com/office/drawing/2014/main" id="{24D8A651-FE7D-073A-C38A-FE869F70AA27}"/>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10" name="Title 22">
            <a:extLst>
              <a:ext uri="{FF2B5EF4-FFF2-40B4-BE49-F238E27FC236}">
                <a16:creationId xmlns:a16="http://schemas.microsoft.com/office/drawing/2014/main" id="{ABC2DC86-B2FD-D26B-7F7D-AE69FC562B5B}"/>
              </a:ext>
            </a:extLst>
          </p:cNvPr>
          <p:cNvSpPr txBox="1">
            <a:spLocks/>
          </p:cNvSpPr>
          <p:nvPr/>
        </p:nvSpPr>
        <p:spPr>
          <a:xfrm>
            <a:off x="1972970" y="1078100"/>
            <a:ext cx="7412385" cy="184665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marL="0" marR="0" lvl="0" indent="0" algn="r" defTabSz="779173"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t>Submission Guidelines</a:t>
            </a:r>
            <a:b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br>
            <a:endParaRPr kumimoji="0" lang="en-US" sz="5400" b="1" i="0" u="none" strike="noStrike" kern="1200" cap="none" spc="0" normalizeH="0" baseline="0" noProof="0" dirty="0">
              <a:ln>
                <a:noFill/>
              </a:ln>
              <a:solidFill>
                <a:srgbClr val="000000"/>
              </a:solidFill>
              <a:effectLst/>
              <a:uLnTx/>
              <a:uFillTx/>
              <a:latin typeface="Apex New Bold" panose="02010600040501010103" pitchFamily="2" charset="77"/>
              <a:cs typeface="+mj-cs"/>
            </a:endParaRPr>
          </a:p>
        </p:txBody>
      </p:sp>
      <p:sp>
        <p:nvSpPr>
          <p:cNvPr id="12" name="Graphic 64">
            <a:extLst>
              <a:ext uri="{FF2B5EF4-FFF2-40B4-BE49-F238E27FC236}">
                <a16:creationId xmlns:a16="http://schemas.microsoft.com/office/drawing/2014/main" id="{838C4DDD-3DD8-6E6D-7BE2-CE14A996B070}"/>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3599534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2E17EB3B-AC77-6E96-0739-5E450CEDB13F}"/>
              </a:ext>
            </a:extLst>
          </p:cNvPr>
          <p:cNvSpPr>
            <a:spLocks noGrp="1"/>
          </p:cNvSpPr>
          <p:nvPr>
            <p:ph type="body" sz="quarter" idx="17"/>
          </p:nvPr>
        </p:nvSpPr>
        <p:spPr>
          <a:xfrm>
            <a:off x="283474" y="1092200"/>
            <a:ext cx="11171926" cy="5384800"/>
          </a:xfrm>
        </p:spPr>
        <p:txBody>
          <a:bodyPr/>
          <a:lstStyle/>
          <a:p>
            <a:pPr marL="285750" indent="-285750">
              <a:buFont typeface="Wingdings" panose="05000000000000000000" pitchFamily="2" charset="2"/>
              <a:buChar char="§"/>
            </a:pPr>
            <a:r>
              <a:rPr lang="en-US" dirty="0"/>
              <a:t>The tender was advertised on the National Treasury Portal </a:t>
            </a:r>
            <a:r>
              <a:rPr lang="en-US" dirty="0">
                <a:solidFill>
                  <a:srgbClr val="0070C0"/>
                </a:solidFill>
                <a:hlinkClick r:id="rId2">
                  <a:extLst>
                    <a:ext uri="{A12FA001-AC4F-418D-AE19-62706E023703}">
                      <ahyp:hlinkClr xmlns:ahyp="http://schemas.microsoft.com/office/drawing/2018/hyperlinkcolor" val="tx"/>
                    </a:ext>
                  </a:extLst>
                </a:hlinkClick>
              </a:rPr>
              <a:t>www.etenders.gov.za</a:t>
            </a:r>
            <a:r>
              <a:rPr lang="en-US" dirty="0">
                <a:solidFill>
                  <a:srgbClr val="0070C0"/>
                </a:solidFill>
              </a:rPr>
              <a:t> </a:t>
            </a:r>
            <a:r>
              <a:rPr lang="en-US" dirty="0"/>
              <a:t>and on the Transnet website.</a:t>
            </a:r>
          </a:p>
          <a:p>
            <a:pPr marL="285750" indent="-285750">
              <a:buFont typeface="Wingdings" panose="05000000000000000000" pitchFamily="2" charset="2"/>
              <a:buChar char="§"/>
            </a:pPr>
            <a:r>
              <a:rPr lang="en-US" dirty="0"/>
              <a:t>The RFP closing date and time is on </a:t>
            </a:r>
            <a:r>
              <a:rPr lang="en-US" b="1" dirty="0"/>
              <a:t>25 April 2025 at 16:00pm</a:t>
            </a:r>
            <a:r>
              <a:rPr lang="en-US" dirty="0"/>
              <a:t>.  </a:t>
            </a:r>
          </a:p>
          <a:p>
            <a:pPr marL="285750" indent="-285750">
              <a:buFont typeface="Wingdings" panose="05000000000000000000" pitchFamily="2" charset="2"/>
              <a:buChar char="§"/>
            </a:pPr>
            <a:r>
              <a:rPr lang="en-US" dirty="0"/>
              <a:t>Late submissions will be disqualifi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r>
              <a:rPr lang="en-US" b="1" dirty="0"/>
              <a:t>For Instructions on the RFP submission</a:t>
            </a:r>
            <a:r>
              <a:rPr lang="en-US" dirty="0"/>
              <a:t>: </a:t>
            </a:r>
          </a:p>
          <a:p>
            <a:r>
              <a:rPr lang="en-US" dirty="0"/>
              <a:t>			please refer to </a:t>
            </a:r>
            <a:r>
              <a:rPr lang="en-US" b="1" dirty="0"/>
              <a:t>RFP, Section 2 paragraph 3.</a:t>
            </a:r>
          </a:p>
          <a:p>
            <a:pPr marL="285750" indent="-285750">
              <a:buFont typeface="Wingdings" panose="05000000000000000000" pitchFamily="2" charset="2"/>
              <a:buChar char="§"/>
            </a:pPr>
            <a:r>
              <a:rPr lang="en-US" b="1" dirty="0"/>
              <a:t>For details of all returnable documents that need to accompany your RFP submission</a:t>
            </a:r>
            <a:r>
              <a:rPr lang="en-US" dirty="0"/>
              <a:t>: </a:t>
            </a:r>
          </a:p>
          <a:p>
            <a:r>
              <a:rPr lang="en-US" dirty="0"/>
              <a:t>			please refer to </a:t>
            </a:r>
            <a:r>
              <a:rPr lang="en-US" b="1" dirty="0"/>
              <a:t>RFP, Section 3, </a:t>
            </a:r>
            <a:r>
              <a:rPr lang="en-US" b="1" i="1" dirty="0"/>
              <a:t>Returnable Documents</a:t>
            </a:r>
            <a:r>
              <a:rPr lang="en-US" b="1" dirty="0"/>
              <a:t>.</a:t>
            </a:r>
          </a:p>
          <a:p>
            <a:endParaRPr lang="en-US" dirty="0"/>
          </a:p>
        </p:txBody>
      </p:sp>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8000" y="108000"/>
            <a:ext cx="10079725" cy="738664"/>
          </a:xfrm>
        </p:spPr>
        <p:txBody>
          <a:bodyPr/>
          <a:lstStyle/>
          <a:p>
            <a:r>
              <a:rPr lang="en-US" dirty="0"/>
              <a:t>PROCUREMENT PROCESS </a:t>
            </a:r>
            <a:br>
              <a:rPr lang="en-US" dirty="0"/>
            </a:br>
            <a:r>
              <a:rPr lang="en-US" sz="1800" b="0" dirty="0">
                <a:solidFill>
                  <a:schemeClr val="bg1">
                    <a:lumMod val="50000"/>
                  </a:schemeClr>
                </a:solidFill>
              </a:rPr>
              <a:t>Overview</a:t>
            </a:r>
            <a:endParaRPr lang="en-US" b="0" dirty="0">
              <a:solidFill>
                <a:schemeClr val="bg1">
                  <a:lumMod val="50000"/>
                </a:schemeClr>
              </a:solidFill>
            </a:endParaRPr>
          </a:p>
        </p:txBody>
      </p:sp>
    </p:spTree>
    <p:extLst>
      <p:ext uri="{BB962C8B-B14F-4D97-AF65-F5344CB8AC3E}">
        <p14:creationId xmlns:p14="http://schemas.microsoft.com/office/powerpoint/2010/main" val="319704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Title 22">
            <a:extLst>
              <a:ext uri="{FF2B5EF4-FFF2-40B4-BE49-F238E27FC236}">
                <a16:creationId xmlns:a16="http://schemas.microsoft.com/office/drawing/2014/main" id="{E7BDCD38-CA41-1A8B-FDAB-B28561438DC3}"/>
              </a:ext>
            </a:extLst>
          </p:cNvPr>
          <p:cNvSpPr txBox="1">
            <a:spLocks/>
          </p:cNvSpPr>
          <p:nvPr/>
        </p:nvSpPr>
        <p:spPr>
          <a:xfrm>
            <a:off x="1972970" y="1078100"/>
            <a:ext cx="7412385" cy="276998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marL="0" marR="0" lvl="0" indent="0" algn="r" defTabSz="779173"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t>Eligibility &amp; Evaluation Criteria</a:t>
            </a:r>
            <a:b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br>
            <a:endParaRPr kumimoji="0" lang="en-US" sz="5400" b="1" i="0" u="none" strike="noStrike" kern="1200" cap="none" spc="0" normalizeH="0" baseline="0" noProof="0" dirty="0">
              <a:ln>
                <a:noFill/>
              </a:ln>
              <a:solidFill>
                <a:srgbClr val="000000"/>
              </a:solidFill>
              <a:effectLst/>
              <a:uLnTx/>
              <a:uFillTx/>
              <a:latin typeface="Apex New Bold" panose="02010600040501010103" pitchFamily="2" charset="77"/>
              <a:cs typeface="+mj-cs"/>
            </a:endParaRP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277036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2E17EB3B-AC77-6E96-0739-5E450CEDB13F}"/>
              </a:ext>
            </a:extLst>
          </p:cNvPr>
          <p:cNvSpPr>
            <a:spLocks noGrp="1"/>
          </p:cNvSpPr>
          <p:nvPr>
            <p:ph type="body" sz="quarter" idx="17"/>
          </p:nvPr>
        </p:nvSpPr>
        <p:spPr>
          <a:xfrm>
            <a:off x="283474" y="1092200"/>
            <a:ext cx="11171926" cy="5384800"/>
          </a:xfrm>
        </p:spPr>
        <p:txBody>
          <a:bodyPr/>
          <a:lstStyle/>
          <a:p>
            <a:pPr marL="285750" indent="-285750">
              <a:buFont typeface="Wingdings" panose="05000000000000000000" pitchFamily="2" charset="2"/>
              <a:buChar char="§"/>
            </a:pPr>
            <a:r>
              <a:rPr lang="en-US" b="1" dirty="0"/>
              <a:t>EVALUATION METHODOLOGY</a:t>
            </a:r>
          </a:p>
          <a:p>
            <a:endParaRPr lang="en-US" dirty="0"/>
          </a:p>
        </p:txBody>
      </p:sp>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8000" y="108000"/>
            <a:ext cx="10079725" cy="738664"/>
          </a:xfrm>
        </p:spPr>
        <p:txBody>
          <a:bodyPr/>
          <a:lstStyle/>
          <a:p>
            <a:r>
              <a:rPr lang="en-US" dirty="0"/>
              <a:t>PROCUREMENT PROCESS </a:t>
            </a:r>
            <a:br>
              <a:rPr lang="en-US" dirty="0"/>
            </a:br>
            <a:r>
              <a:rPr lang="en-US" sz="1800" b="0" dirty="0">
                <a:solidFill>
                  <a:schemeClr val="bg1">
                    <a:lumMod val="50000"/>
                  </a:schemeClr>
                </a:solidFill>
              </a:rPr>
              <a:t>Overview</a:t>
            </a:r>
            <a:endParaRPr lang="en-US" b="0" dirty="0">
              <a:solidFill>
                <a:schemeClr val="bg1">
                  <a:lumMod val="50000"/>
                </a:schemeClr>
              </a:solidFill>
            </a:endParaRPr>
          </a:p>
        </p:txBody>
      </p:sp>
      <p:grpSp>
        <p:nvGrpSpPr>
          <p:cNvPr id="2" name="Group 1">
            <a:extLst>
              <a:ext uri="{FF2B5EF4-FFF2-40B4-BE49-F238E27FC236}">
                <a16:creationId xmlns:a16="http://schemas.microsoft.com/office/drawing/2014/main" id="{D947352C-ABA5-C550-0F63-1E92D427F082}"/>
              </a:ext>
            </a:extLst>
          </p:cNvPr>
          <p:cNvGrpSpPr/>
          <p:nvPr/>
        </p:nvGrpSpPr>
        <p:grpSpPr>
          <a:xfrm>
            <a:off x="1394872" y="1590701"/>
            <a:ext cx="8387303" cy="4599586"/>
            <a:chOff x="-113252" y="59617"/>
            <a:chExt cx="9896773" cy="3857034"/>
          </a:xfrm>
        </p:grpSpPr>
        <p:sp>
          <p:nvSpPr>
            <p:cNvPr id="3" name="Rectangle 2">
              <a:extLst>
                <a:ext uri="{FF2B5EF4-FFF2-40B4-BE49-F238E27FC236}">
                  <a16:creationId xmlns:a16="http://schemas.microsoft.com/office/drawing/2014/main" id="{84D29932-9CCA-0D55-523B-93DF911304BA}"/>
                </a:ext>
              </a:extLst>
            </p:cNvPr>
            <p:cNvSpPr/>
            <p:nvPr/>
          </p:nvSpPr>
          <p:spPr>
            <a:xfrm>
              <a:off x="-113252" y="116956"/>
              <a:ext cx="9871725" cy="397646"/>
            </a:xfrm>
            <a:prstGeom prst="rect">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5" name="TextBox 16">
              <a:extLst>
                <a:ext uri="{FF2B5EF4-FFF2-40B4-BE49-F238E27FC236}">
                  <a16:creationId xmlns:a16="http://schemas.microsoft.com/office/drawing/2014/main" id="{79CC85F6-B122-564F-F109-A5C3F7C86A58}"/>
                </a:ext>
              </a:extLst>
            </p:cNvPr>
            <p:cNvSpPr txBox="1">
              <a:spLocks noChangeArrowheads="1"/>
            </p:cNvSpPr>
            <p:nvPr/>
          </p:nvSpPr>
          <p:spPr bwMode="auto">
            <a:xfrm>
              <a:off x="2776020" y="481478"/>
              <a:ext cx="807494" cy="24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Tahoma" panose="020B0604030504040204" pitchFamily="34" charset="0"/>
                  <a:ea typeface="Times New Roman" panose="02020603050405020304" pitchFamily="18" charset="0"/>
                </a:rPr>
                <a:t>Step 3</a:t>
              </a:r>
              <a:endParaRPr lang="en-US" sz="1200">
                <a:effectLst/>
                <a:latin typeface="Times New Roman" panose="02020603050405020304" pitchFamily="18" charset="0"/>
                <a:ea typeface="Times New Roman" panose="02020603050405020304" pitchFamily="18" charset="0"/>
              </a:endParaRPr>
            </a:p>
          </p:txBody>
        </p:sp>
        <p:sp>
          <p:nvSpPr>
            <p:cNvPr id="6" name="TextBox 3">
              <a:extLst>
                <a:ext uri="{FF2B5EF4-FFF2-40B4-BE49-F238E27FC236}">
                  <a16:creationId xmlns:a16="http://schemas.microsoft.com/office/drawing/2014/main" id="{06E257AB-7D80-E6A7-4D35-7A637EACAA3B}"/>
                </a:ext>
              </a:extLst>
            </p:cNvPr>
            <p:cNvSpPr txBox="1">
              <a:spLocks noChangeArrowheads="1"/>
            </p:cNvSpPr>
            <p:nvPr/>
          </p:nvSpPr>
          <p:spPr bwMode="auto">
            <a:xfrm>
              <a:off x="-99385" y="754368"/>
              <a:ext cx="1151068"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800" kern="1200">
                  <a:solidFill>
                    <a:srgbClr val="000000"/>
                  </a:solidFill>
                  <a:effectLst/>
                  <a:latin typeface="Tahoma" panose="020B0604030504040204" pitchFamily="34" charset="0"/>
                  <a:ea typeface="Times New Roman" panose="02020603050405020304" pitchFamily="18" charset="0"/>
                </a:rPr>
                <a:t>Administrative responsiveness</a:t>
              </a:r>
              <a:endParaRPr lang="en-US" sz="1200">
                <a:effectLst/>
                <a:latin typeface="Times New Roman" panose="02020603050405020304" pitchFamily="18" charset="0"/>
                <a:ea typeface="Times New Roman" panose="02020603050405020304" pitchFamily="18" charset="0"/>
              </a:endParaRPr>
            </a:p>
          </p:txBody>
        </p:sp>
        <p:sp>
          <p:nvSpPr>
            <p:cNvPr id="7" name="TextBox 3">
              <a:extLst>
                <a:ext uri="{FF2B5EF4-FFF2-40B4-BE49-F238E27FC236}">
                  <a16:creationId xmlns:a16="http://schemas.microsoft.com/office/drawing/2014/main" id="{02C559E0-2BC1-F189-573F-C5DA9C7EA696}"/>
                </a:ext>
              </a:extLst>
            </p:cNvPr>
            <p:cNvSpPr txBox="1">
              <a:spLocks noChangeArrowheads="1"/>
            </p:cNvSpPr>
            <p:nvPr/>
          </p:nvSpPr>
          <p:spPr bwMode="auto">
            <a:xfrm>
              <a:off x="1051684" y="754368"/>
              <a:ext cx="1192607"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r>
                <a:rPr lang="en-ZA" sz="800" kern="1200">
                  <a:solidFill>
                    <a:srgbClr val="000000"/>
                  </a:solidFill>
                  <a:effectLst/>
                  <a:latin typeface="Tahoma" panose="020B0604030504040204" pitchFamily="34" charset="0"/>
                  <a:ea typeface="Times New Roman" panose="02020603050405020304" pitchFamily="18" charset="0"/>
                </a:rPr>
                <a:t>Substantive responsiveness</a:t>
              </a:r>
              <a:endParaRPr lang="en-US" sz="1200">
                <a:effectLst/>
                <a:latin typeface="Times New Roman" panose="02020603050405020304" pitchFamily="18" charset="0"/>
                <a:ea typeface="Times New Roman" panose="02020603050405020304" pitchFamily="18" charset="0"/>
              </a:endParaRPr>
            </a:p>
          </p:txBody>
        </p:sp>
        <p:sp>
          <p:nvSpPr>
            <p:cNvPr id="8" name="TextBox 3">
              <a:extLst>
                <a:ext uri="{FF2B5EF4-FFF2-40B4-BE49-F238E27FC236}">
                  <a16:creationId xmlns:a16="http://schemas.microsoft.com/office/drawing/2014/main" id="{B5C756F8-6FFC-B46B-7AFF-56F73F721467}"/>
                </a:ext>
              </a:extLst>
            </p:cNvPr>
            <p:cNvSpPr txBox="1">
              <a:spLocks noChangeArrowheads="1"/>
            </p:cNvSpPr>
            <p:nvPr/>
          </p:nvSpPr>
          <p:spPr bwMode="auto">
            <a:xfrm>
              <a:off x="4317490" y="845700"/>
              <a:ext cx="1407656"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Arial" panose="020B0604020202020204" pitchFamily="34" charset="0"/>
                  <a:ea typeface="Times New Roman" panose="02020603050405020304" pitchFamily="18" charset="0"/>
                </a:rPr>
                <a:t>Weighted scoring / 100***</a:t>
              </a:r>
              <a:endParaRPr lang="en-US" sz="1200">
                <a:effectLst/>
                <a:latin typeface="Times New Roman" panose="02020603050405020304" pitchFamily="18" charset="0"/>
                <a:ea typeface="Times New Roman" panose="02020603050405020304" pitchFamily="18" charset="0"/>
              </a:endParaRPr>
            </a:p>
          </p:txBody>
        </p:sp>
        <p:sp>
          <p:nvSpPr>
            <p:cNvPr id="9" name="AutoShape 13">
              <a:extLst>
                <a:ext uri="{FF2B5EF4-FFF2-40B4-BE49-F238E27FC236}">
                  <a16:creationId xmlns:a16="http://schemas.microsoft.com/office/drawing/2014/main" id="{72DBBEA1-522D-A617-DF34-14FCD0F2F871}"/>
                </a:ext>
              </a:extLst>
            </p:cNvPr>
            <p:cNvSpPr>
              <a:spLocks noChangeArrowheads="1"/>
            </p:cNvSpPr>
            <p:nvPr/>
          </p:nvSpPr>
          <p:spPr bwMode="auto">
            <a:xfrm>
              <a:off x="261160" y="1820860"/>
              <a:ext cx="470149" cy="577086"/>
            </a:xfrm>
            <a:prstGeom prst="flowChartMultidocument">
              <a:avLst/>
            </a:prstGeom>
            <a:gradFill rotWithShape="0">
              <a:gsLst>
                <a:gs pos="0">
                  <a:srgbClr val="FFFFFF"/>
                </a:gs>
                <a:gs pos="100000">
                  <a:srgbClr val="E5B8B7"/>
                </a:gs>
              </a:gsLst>
              <a:lin ang="5400000" scaled="1"/>
            </a:gradFill>
            <a:ln w="12700">
              <a:solidFill>
                <a:srgbClr val="D99594"/>
              </a:solidFill>
              <a:miter lim="800000"/>
              <a:headEnd/>
              <a:tailEnd/>
            </a:ln>
            <a:effectLst>
              <a:outerShdw dist="28398" dir="3806097" algn="ctr" rotWithShape="0">
                <a:srgbClr val="622423">
                  <a:alpha val="50000"/>
                </a:srgbClr>
              </a:outerShdw>
            </a:effectLst>
          </p:spPr>
          <p:txBody>
            <a:bodyPr/>
            <a:lstStyle/>
            <a:p>
              <a:endParaRPr lang="en-US"/>
            </a:p>
          </p:txBody>
        </p:sp>
        <p:sp>
          <p:nvSpPr>
            <p:cNvPr id="10" name="Right Arrow 28824">
              <a:extLst>
                <a:ext uri="{FF2B5EF4-FFF2-40B4-BE49-F238E27FC236}">
                  <a16:creationId xmlns:a16="http://schemas.microsoft.com/office/drawing/2014/main" id="{4BBCD13D-8A97-460E-96B2-8FBB58E8FFDC}"/>
                </a:ext>
              </a:extLst>
            </p:cNvPr>
            <p:cNvSpPr>
              <a:spLocks noChangeArrowheads="1"/>
            </p:cNvSpPr>
            <p:nvPr/>
          </p:nvSpPr>
          <p:spPr bwMode="auto">
            <a:xfrm>
              <a:off x="933217" y="2000251"/>
              <a:ext cx="272547"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11" name="AutoShape 15">
              <a:extLst>
                <a:ext uri="{FF2B5EF4-FFF2-40B4-BE49-F238E27FC236}">
                  <a16:creationId xmlns:a16="http://schemas.microsoft.com/office/drawing/2014/main" id="{ACC5F3B4-BD08-E083-E5FA-5BE2EB30E626}"/>
                </a:ext>
              </a:extLst>
            </p:cNvPr>
            <p:cNvSpPr>
              <a:spLocks noChangeArrowheads="1"/>
            </p:cNvSpPr>
            <p:nvPr/>
          </p:nvSpPr>
          <p:spPr bwMode="auto">
            <a:xfrm rot="3171260">
              <a:off x="1393864" y="1650660"/>
              <a:ext cx="236680" cy="655348"/>
            </a:xfrm>
            <a:prstGeom prst="lightningBolt">
              <a:avLst/>
            </a:prstGeom>
            <a:solidFill>
              <a:srgbClr val="FFFFFF"/>
            </a:solidFill>
            <a:ln w="63500" cmpd="thickThin">
              <a:solidFill>
                <a:srgbClr val="C0504D"/>
              </a:solidFill>
              <a:miter lim="800000"/>
              <a:headEnd/>
              <a:tailEnd/>
            </a:ln>
          </p:spPr>
          <p:txBody>
            <a:bodyPr/>
            <a:lstStyle/>
            <a:p>
              <a:endParaRPr lang="en-US"/>
            </a:p>
          </p:txBody>
        </p:sp>
        <p:sp>
          <p:nvSpPr>
            <p:cNvPr id="12" name="Right Arrow 28826">
              <a:extLst>
                <a:ext uri="{FF2B5EF4-FFF2-40B4-BE49-F238E27FC236}">
                  <a16:creationId xmlns:a16="http://schemas.microsoft.com/office/drawing/2014/main" id="{569E3D39-09B4-DBED-7E4C-EDC976C5EA64}"/>
                </a:ext>
              </a:extLst>
            </p:cNvPr>
            <p:cNvSpPr>
              <a:spLocks noChangeArrowheads="1"/>
            </p:cNvSpPr>
            <p:nvPr/>
          </p:nvSpPr>
          <p:spPr bwMode="auto">
            <a:xfrm>
              <a:off x="1851206" y="2000251"/>
              <a:ext cx="272547" cy="288000"/>
            </a:xfrm>
            <a:prstGeom prst="rightArrow">
              <a:avLst>
                <a:gd name="adj1" fmla="val 50000"/>
                <a:gd name="adj2" fmla="val 50127"/>
              </a:avLst>
            </a:prstGeom>
            <a:solidFill>
              <a:srgbClr val="FAC090"/>
            </a:solidFill>
            <a:ln w="9525">
              <a:solidFill>
                <a:srgbClr val="321212"/>
              </a:solidFill>
              <a:miter lim="800000"/>
              <a:headEnd/>
              <a:tailEnd/>
            </a:ln>
          </p:spPr>
          <p:txBody>
            <a:bodyPr lIns="270000" anchor="ctr"/>
            <a:lstStyle/>
            <a:p>
              <a:endParaRPr lang="en-US"/>
            </a:p>
          </p:txBody>
        </p:sp>
        <p:sp>
          <p:nvSpPr>
            <p:cNvPr id="13" name="TextBox 3">
              <a:extLst>
                <a:ext uri="{FF2B5EF4-FFF2-40B4-BE49-F238E27FC236}">
                  <a16:creationId xmlns:a16="http://schemas.microsoft.com/office/drawing/2014/main" id="{2BEA9534-658D-29B2-DC63-A9839B3FB5B2}"/>
                </a:ext>
              </a:extLst>
            </p:cNvPr>
            <p:cNvSpPr txBox="1">
              <a:spLocks noChangeArrowheads="1"/>
            </p:cNvSpPr>
            <p:nvPr/>
          </p:nvSpPr>
          <p:spPr bwMode="auto">
            <a:xfrm>
              <a:off x="-30041" y="1186319"/>
              <a:ext cx="1104866"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r>
                <a:rPr lang="en-ZA" sz="800" kern="1200">
                  <a:solidFill>
                    <a:srgbClr val="000000"/>
                  </a:solidFill>
                  <a:effectLst/>
                  <a:latin typeface="Tahoma" panose="020B0604030504040204" pitchFamily="34" charset="0"/>
                  <a:ea typeface="Times New Roman" panose="02020603050405020304" pitchFamily="18" charset="0"/>
                </a:rPr>
                <a:t>Returnable documents/ schedules</a:t>
              </a:r>
              <a:endParaRPr lang="en-US" sz="1200">
                <a:effectLst/>
                <a:latin typeface="Times New Roman" panose="02020603050405020304" pitchFamily="18" charset="0"/>
                <a:ea typeface="Times New Roman" panose="02020603050405020304" pitchFamily="18" charset="0"/>
              </a:endParaRPr>
            </a:p>
          </p:txBody>
        </p:sp>
        <p:sp>
          <p:nvSpPr>
            <p:cNvPr id="14" name="TextBox 3">
              <a:extLst>
                <a:ext uri="{FF2B5EF4-FFF2-40B4-BE49-F238E27FC236}">
                  <a16:creationId xmlns:a16="http://schemas.microsoft.com/office/drawing/2014/main" id="{59594937-9A77-CCF8-F1B8-C12971D3F25E}"/>
                </a:ext>
              </a:extLst>
            </p:cNvPr>
            <p:cNvSpPr txBox="1">
              <a:spLocks noChangeArrowheads="1"/>
            </p:cNvSpPr>
            <p:nvPr/>
          </p:nvSpPr>
          <p:spPr bwMode="auto">
            <a:xfrm>
              <a:off x="1118984" y="1278408"/>
              <a:ext cx="1087120"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r>
                <a:rPr lang="en-ZA" sz="800" kern="1200">
                  <a:solidFill>
                    <a:srgbClr val="000000"/>
                  </a:solidFill>
                  <a:effectLst/>
                  <a:latin typeface="Tahoma" panose="020B0604030504040204" pitchFamily="34" charset="0"/>
                  <a:ea typeface="Times New Roman" panose="02020603050405020304" pitchFamily="18" charset="0"/>
                </a:rPr>
                <a:t>Pre-qualification</a:t>
              </a:r>
              <a:endParaRPr lang="en-US" sz="1200">
                <a:effectLst/>
                <a:latin typeface="Times New Roman" panose="02020603050405020304" pitchFamily="18" charset="0"/>
                <a:ea typeface="Times New Roman" panose="02020603050405020304" pitchFamily="18" charset="0"/>
              </a:endParaRPr>
            </a:p>
          </p:txBody>
        </p:sp>
        <p:sp>
          <p:nvSpPr>
            <p:cNvPr id="15" name="TextBox 8">
              <a:extLst>
                <a:ext uri="{FF2B5EF4-FFF2-40B4-BE49-F238E27FC236}">
                  <a16:creationId xmlns:a16="http://schemas.microsoft.com/office/drawing/2014/main" id="{ADE86D77-3CD1-6BDA-2034-61C027A75901}"/>
                </a:ext>
              </a:extLst>
            </p:cNvPr>
            <p:cNvSpPr txBox="1">
              <a:spLocks noChangeArrowheads="1"/>
            </p:cNvSpPr>
            <p:nvPr/>
          </p:nvSpPr>
          <p:spPr bwMode="auto">
            <a:xfrm>
              <a:off x="2123750" y="3116908"/>
              <a:ext cx="1614348" cy="749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fontAlgn="base"/>
              <a:r>
                <a:rPr lang="en-ZA" sz="800" kern="1200">
                  <a:solidFill>
                    <a:srgbClr val="000000"/>
                  </a:solidFill>
                  <a:effectLst/>
                  <a:latin typeface="Tahoma" panose="020B0604030504040204" pitchFamily="34" charset="0"/>
                  <a:ea typeface="Times New Roman" panose="02020603050405020304" pitchFamily="18" charset="0"/>
                </a:rPr>
                <a:t>Technical / Functional criteria &amp; weightings must be stipulated in the tender document</a:t>
              </a:r>
              <a:endParaRPr lang="en-US" sz="1200">
                <a:effectLst/>
                <a:latin typeface="Times New Roman" panose="02020603050405020304" pitchFamily="18" charset="0"/>
                <a:ea typeface="Times New Roman" panose="02020603050405020304" pitchFamily="18" charset="0"/>
              </a:endParaRPr>
            </a:p>
          </p:txBody>
        </p:sp>
        <p:sp>
          <p:nvSpPr>
            <p:cNvPr id="16" name="TextBox 8">
              <a:extLst>
                <a:ext uri="{FF2B5EF4-FFF2-40B4-BE49-F238E27FC236}">
                  <a16:creationId xmlns:a16="http://schemas.microsoft.com/office/drawing/2014/main" id="{0ABE5FD8-06B0-DC61-DCC9-B402053F1CC6}"/>
                </a:ext>
              </a:extLst>
            </p:cNvPr>
            <p:cNvSpPr txBox="1">
              <a:spLocks noChangeArrowheads="1"/>
            </p:cNvSpPr>
            <p:nvPr/>
          </p:nvSpPr>
          <p:spPr bwMode="auto">
            <a:xfrm>
              <a:off x="4433474" y="2564243"/>
              <a:ext cx="1035722" cy="676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fontAlgn="base"/>
              <a:r>
                <a:rPr lang="en-ZA" sz="800" kern="1200">
                  <a:solidFill>
                    <a:srgbClr val="000000"/>
                  </a:solidFill>
                  <a:effectLst/>
                  <a:latin typeface="Tahoma" panose="020B0604030504040204" pitchFamily="34" charset="0"/>
                  <a:ea typeface="Times New Roman" panose="02020603050405020304" pitchFamily="18" charset="0"/>
                </a:rPr>
                <a:t>WEIGHTED  SCORE</a:t>
              </a:r>
              <a:endParaRPr lang="en-US" sz="1200">
                <a:effectLst/>
                <a:latin typeface="Times New Roman" panose="02020603050405020304" pitchFamily="18" charset="0"/>
                <a:ea typeface="Times New Roman" panose="02020603050405020304" pitchFamily="18" charset="0"/>
              </a:endParaRPr>
            </a:p>
          </p:txBody>
        </p:sp>
        <p:sp>
          <p:nvSpPr>
            <p:cNvPr id="17" name="Rectangle 16">
              <a:extLst>
                <a:ext uri="{FF2B5EF4-FFF2-40B4-BE49-F238E27FC236}">
                  <a16:creationId xmlns:a16="http://schemas.microsoft.com/office/drawing/2014/main" id="{F5D74B89-7894-E671-E46C-CDE8F6A6DDEE}"/>
                </a:ext>
              </a:extLst>
            </p:cNvPr>
            <p:cNvSpPr/>
            <p:nvPr/>
          </p:nvSpPr>
          <p:spPr bwMode="auto">
            <a:xfrm>
              <a:off x="2850496" y="2152032"/>
              <a:ext cx="256088" cy="100932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US"/>
            </a:p>
          </p:txBody>
        </p:sp>
        <p:sp>
          <p:nvSpPr>
            <p:cNvPr id="18" name="Rectangle 17">
              <a:extLst>
                <a:ext uri="{FF2B5EF4-FFF2-40B4-BE49-F238E27FC236}">
                  <a16:creationId xmlns:a16="http://schemas.microsoft.com/office/drawing/2014/main" id="{F14CDED8-9569-A22F-6935-C8513A126D35}"/>
                </a:ext>
              </a:extLst>
            </p:cNvPr>
            <p:cNvSpPr/>
            <p:nvPr/>
          </p:nvSpPr>
          <p:spPr bwMode="auto">
            <a:xfrm>
              <a:off x="2850496" y="1953593"/>
              <a:ext cx="256088" cy="2323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US"/>
            </a:p>
          </p:txBody>
        </p:sp>
        <p:sp>
          <p:nvSpPr>
            <p:cNvPr id="19" name="Right Arrow 28833">
              <a:extLst>
                <a:ext uri="{FF2B5EF4-FFF2-40B4-BE49-F238E27FC236}">
                  <a16:creationId xmlns:a16="http://schemas.microsoft.com/office/drawing/2014/main" id="{CFA67601-5388-5821-0107-DFF27E6F0085}"/>
                </a:ext>
              </a:extLst>
            </p:cNvPr>
            <p:cNvSpPr>
              <a:spLocks noChangeArrowheads="1"/>
            </p:cNvSpPr>
            <p:nvPr/>
          </p:nvSpPr>
          <p:spPr bwMode="auto">
            <a:xfrm>
              <a:off x="3301795" y="2037597"/>
              <a:ext cx="272545"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20" name="TextBox 3">
              <a:extLst>
                <a:ext uri="{FF2B5EF4-FFF2-40B4-BE49-F238E27FC236}">
                  <a16:creationId xmlns:a16="http://schemas.microsoft.com/office/drawing/2014/main" id="{9EA8D241-BCDF-E1FA-57CF-D335B4D2339B}"/>
                </a:ext>
              </a:extLst>
            </p:cNvPr>
            <p:cNvSpPr txBox="1">
              <a:spLocks noChangeArrowheads="1"/>
            </p:cNvSpPr>
            <p:nvPr/>
          </p:nvSpPr>
          <p:spPr bwMode="auto">
            <a:xfrm>
              <a:off x="2418357" y="1161499"/>
              <a:ext cx="1038151" cy="88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spcBef>
                  <a:spcPts val="0"/>
                </a:spcBef>
                <a:spcAft>
                  <a:spcPts val="0"/>
                </a:spcAft>
              </a:pPr>
              <a:r>
                <a:rPr lang="en-ZA" sz="800" kern="1200">
                  <a:solidFill>
                    <a:srgbClr val="000000"/>
                  </a:solidFill>
                  <a:effectLst/>
                  <a:latin typeface="Tahoma" panose="020B0604030504040204" pitchFamily="34" charset="0"/>
                  <a:ea typeface="Times New Roman" panose="02020603050405020304" pitchFamily="18" charset="0"/>
                </a:rPr>
                <a:t>Phase 1:</a:t>
              </a:r>
              <a:endParaRPr lang="en-US" sz="1200">
                <a:effectLst/>
                <a:latin typeface="Times New Roman" panose="02020603050405020304" pitchFamily="18" charset="0"/>
                <a:ea typeface="Times New Roman" panose="02020603050405020304" pitchFamily="18" charset="0"/>
              </a:endParaRPr>
            </a:p>
            <a:p>
              <a:pPr marL="0" marR="0" algn="ctr" fontAlgn="base">
                <a:spcBef>
                  <a:spcPts val="0"/>
                </a:spcBef>
                <a:spcAft>
                  <a:spcPts val="0"/>
                </a:spcAft>
              </a:pPr>
              <a:r>
                <a:rPr lang="en-ZA" sz="800" kern="1200">
                  <a:solidFill>
                    <a:srgbClr val="000000"/>
                  </a:solidFill>
                  <a:effectLst/>
                  <a:latin typeface="Tahoma" panose="020B0604030504040204" pitchFamily="34" charset="0"/>
                  <a:ea typeface="Times New Roman" panose="02020603050405020304" pitchFamily="18" charset="0"/>
                </a:rPr>
                <a:t>Functionality/ technical</a:t>
              </a:r>
              <a:endParaRPr lang="en-US" sz="1200">
                <a:effectLst/>
                <a:latin typeface="Times New Roman" panose="02020603050405020304" pitchFamily="18" charset="0"/>
                <a:ea typeface="Times New Roman" panose="02020603050405020304" pitchFamily="18" charset="0"/>
              </a:endParaRPr>
            </a:p>
            <a:p>
              <a:pPr marL="0" marR="0" algn="ctr" fontAlgn="base">
                <a:spcBef>
                  <a:spcPts val="0"/>
                </a:spcBef>
                <a:spcAft>
                  <a:spcPts val="0"/>
                </a:spcAft>
              </a:pPr>
              <a:r>
                <a:rPr lang="en-ZA" sz="800" kern="1200">
                  <a:solidFill>
                    <a:srgbClr val="000000"/>
                  </a:solidFill>
                  <a:effectLst/>
                  <a:latin typeface="Tahoma" panose="020B0604030504040204" pitchFamily="34" charset="0"/>
                  <a:ea typeface="Times New Roman" panose="02020603050405020304" pitchFamily="18" charset="0"/>
                </a:rPr>
                <a:t>Minimum Threshold</a:t>
              </a:r>
              <a:endParaRPr lang="en-US" sz="1200">
                <a:effectLst/>
                <a:latin typeface="Times New Roman" panose="02020603050405020304" pitchFamily="18" charset="0"/>
                <a:ea typeface="Times New Roman" panose="02020603050405020304" pitchFamily="18" charset="0"/>
              </a:endParaRPr>
            </a:p>
          </p:txBody>
        </p:sp>
        <p:sp>
          <p:nvSpPr>
            <p:cNvPr id="21" name="TextBox 16">
              <a:extLst>
                <a:ext uri="{FF2B5EF4-FFF2-40B4-BE49-F238E27FC236}">
                  <a16:creationId xmlns:a16="http://schemas.microsoft.com/office/drawing/2014/main" id="{CD286E1A-D886-8216-0D3D-68B66AB4DE6C}"/>
                </a:ext>
              </a:extLst>
            </p:cNvPr>
            <p:cNvSpPr txBox="1">
              <a:spLocks noChangeArrowheads="1"/>
            </p:cNvSpPr>
            <p:nvPr/>
          </p:nvSpPr>
          <p:spPr bwMode="auto">
            <a:xfrm>
              <a:off x="1338517" y="480382"/>
              <a:ext cx="844764"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Tahoma" panose="020B0604030504040204" pitchFamily="34" charset="0"/>
                  <a:ea typeface="Times New Roman" panose="02020603050405020304" pitchFamily="18" charset="0"/>
                </a:rPr>
                <a:t>Step 2</a:t>
              </a:r>
              <a:endParaRPr lang="en-US" sz="1200">
                <a:effectLst/>
                <a:latin typeface="Times New Roman" panose="02020603050405020304" pitchFamily="18" charset="0"/>
                <a:ea typeface="Times New Roman" panose="02020603050405020304" pitchFamily="18" charset="0"/>
              </a:endParaRPr>
            </a:p>
          </p:txBody>
        </p:sp>
        <p:sp>
          <p:nvSpPr>
            <p:cNvPr id="22" name="TextBox 16">
              <a:extLst>
                <a:ext uri="{FF2B5EF4-FFF2-40B4-BE49-F238E27FC236}">
                  <a16:creationId xmlns:a16="http://schemas.microsoft.com/office/drawing/2014/main" id="{4ABA19F0-9FB9-5433-836D-FE25C164C6E0}"/>
                </a:ext>
              </a:extLst>
            </p:cNvPr>
            <p:cNvSpPr txBox="1">
              <a:spLocks noChangeArrowheads="1"/>
            </p:cNvSpPr>
            <p:nvPr/>
          </p:nvSpPr>
          <p:spPr bwMode="auto">
            <a:xfrm>
              <a:off x="246355" y="504650"/>
              <a:ext cx="767767"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Tahoma" panose="020B0604030504040204" pitchFamily="34" charset="0"/>
                  <a:ea typeface="Times New Roman" panose="02020603050405020304" pitchFamily="18" charset="0"/>
                </a:rPr>
                <a:t>Step 1</a:t>
              </a:r>
              <a:endParaRPr lang="en-US" sz="1200">
                <a:effectLst/>
                <a:latin typeface="Times New Roman" panose="02020603050405020304" pitchFamily="18" charset="0"/>
                <a:ea typeface="Times New Roman" panose="02020603050405020304" pitchFamily="18" charset="0"/>
              </a:endParaRPr>
            </a:p>
          </p:txBody>
        </p:sp>
        <p:sp>
          <p:nvSpPr>
            <p:cNvPr id="23" name="TextBox 16">
              <a:extLst>
                <a:ext uri="{FF2B5EF4-FFF2-40B4-BE49-F238E27FC236}">
                  <a16:creationId xmlns:a16="http://schemas.microsoft.com/office/drawing/2014/main" id="{4E503078-957C-9039-6E32-9FEF4DF7ED3B}"/>
                </a:ext>
              </a:extLst>
            </p:cNvPr>
            <p:cNvSpPr txBox="1">
              <a:spLocks noChangeArrowheads="1"/>
            </p:cNvSpPr>
            <p:nvPr/>
          </p:nvSpPr>
          <p:spPr bwMode="auto">
            <a:xfrm>
              <a:off x="4394383" y="483627"/>
              <a:ext cx="842521"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Arial" panose="020B0604020202020204" pitchFamily="34" charset="0"/>
                  <a:ea typeface="Times New Roman" panose="02020603050405020304" pitchFamily="18" charset="0"/>
                </a:rPr>
                <a:t>Step 4</a:t>
              </a:r>
              <a:endParaRPr lang="en-US" sz="1200">
                <a:effectLst/>
                <a:latin typeface="Times New Roman" panose="02020603050405020304" pitchFamily="18" charset="0"/>
                <a:ea typeface="Times New Roman" panose="02020603050405020304" pitchFamily="18" charset="0"/>
              </a:endParaRPr>
            </a:p>
          </p:txBody>
        </p:sp>
        <p:cxnSp>
          <p:nvCxnSpPr>
            <p:cNvPr id="24" name="Straight Connector 23">
              <a:extLst>
                <a:ext uri="{FF2B5EF4-FFF2-40B4-BE49-F238E27FC236}">
                  <a16:creationId xmlns:a16="http://schemas.microsoft.com/office/drawing/2014/main" id="{73A75075-A324-30E6-5F21-F3237964A1DB}"/>
                </a:ext>
              </a:extLst>
            </p:cNvPr>
            <p:cNvCxnSpPr>
              <a:cxnSpLocks noChangeShapeType="1"/>
            </p:cNvCxnSpPr>
            <p:nvPr/>
          </p:nvCxnSpPr>
          <p:spPr bwMode="auto">
            <a:xfrm>
              <a:off x="4307001" y="127755"/>
              <a:ext cx="72406" cy="3788896"/>
            </a:xfrm>
            <a:prstGeom prst="line">
              <a:avLst/>
            </a:prstGeom>
            <a:noFill/>
            <a:ln w="222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5" name="TextBox 16">
              <a:extLst>
                <a:ext uri="{FF2B5EF4-FFF2-40B4-BE49-F238E27FC236}">
                  <a16:creationId xmlns:a16="http://schemas.microsoft.com/office/drawing/2014/main" id="{B0E59855-F8F0-F43B-179F-7B6BB15A329E}"/>
                </a:ext>
              </a:extLst>
            </p:cNvPr>
            <p:cNvSpPr txBox="1">
              <a:spLocks noChangeArrowheads="1"/>
            </p:cNvSpPr>
            <p:nvPr/>
          </p:nvSpPr>
          <p:spPr bwMode="auto">
            <a:xfrm>
              <a:off x="-30041" y="59617"/>
              <a:ext cx="2153793" cy="44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r>
                <a:rPr lang="en-ZA" sz="800" b="1" kern="1200">
                  <a:solidFill>
                    <a:srgbClr val="000000"/>
                  </a:solidFill>
                  <a:effectLst/>
                  <a:latin typeface="Arial" panose="020B0604020202020204" pitchFamily="34" charset="0"/>
                  <a:ea typeface="Times New Roman" panose="02020603050405020304" pitchFamily="18" charset="0"/>
                </a:rPr>
                <a:t>STAGE 1:</a:t>
              </a:r>
              <a:r>
                <a:rPr lang="en-ZA" sz="800" b="1" kern="1200">
                  <a:solidFill>
                    <a:srgbClr val="000000"/>
                  </a:solidFill>
                  <a:effectLst/>
                  <a:highlight>
                    <a:srgbClr val="00FFFF"/>
                  </a:highlight>
                  <a:latin typeface="Arial" panose="020B0604020202020204" pitchFamily="34" charset="0"/>
                  <a:ea typeface="Times New Roman" panose="02020603050405020304" pitchFamily="18" charset="0"/>
                  <a:cs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p>
              <a:pPr marL="0" marR="0" algn="ctr" fontAlgn="base"/>
              <a:r>
                <a:rPr lang="en-ZA" sz="8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EST FOR RESPONSIVENESS</a:t>
              </a:r>
              <a:endParaRPr lang="en-US" sz="1200">
                <a:effectLst/>
                <a:latin typeface="Times New Roman" panose="02020603050405020304" pitchFamily="18" charset="0"/>
                <a:ea typeface="Times New Roman" panose="02020603050405020304" pitchFamily="18" charset="0"/>
              </a:endParaRPr>
            </a:p>
          </p:txBody>
        </p:sp>
        <p:sp>
          <p:nvSpPr>
            <p:cNvPr id="27" name="TextBox 16">
              <a:extLst>
                <a:ext uri="{FF2B5EF4-FFF2-40B4-BE49-F238E27FC236}">
                  <a16:creationId xmlns:a16="http://schemas.microsoft.com/office/drawing/2014/main" id="{EFA72E22-957A-CE86-736C-15827DA639EA}"/>
                </a:ext>
              </a:extLst>
            </p:cNvPr>
            <p:cNvSpPr txBox="1">
              <a:spLocks noChangeArrowheads="1"/>
            </p:cNvSpPr>
            <p:nvPr/>
          </p:nvSpPr>
          <p:spPr bwMode="auto">
            <a:xfrm>
              <a:off x="2490613" y="187852"/>
              <a:ext cx="1116891"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US" sz="900" b="1" kern="1200">
                  <a:solidFill>
                    <a:srgbClr val="000000"/>
                  </a:solidFill>
                  <a:effectLst/>
                  <a:latin typeface="Arial" panose="020B0604020202020204" pitchFamily="34" charset="0"/>
                  <a:ea typeface="Times New Roman" panose="02020603050405020304" pitchFamily="18" charset="0"/>
                </a:rPr>
                <a:t>STAGE 2</a:t>
              </a:r>
              <a:endParaRPr lang="en-US" sz="1200">
                <a:effectLst/>
                <a:latin typeface="Times New Roman" panose="02020603050405020304" pitchFamily="18" charset="0"/>
                <a:ea typeface="Times New Roman" panose="02020603050405020304" pitchFamily="18" charset="0"/>
              </a:endParaRPr>
            </a:p>
          </p:txBody>
        </p:sp>
        <p:sp>
          <p:nvSpPr>
            <p:cNvPr id="29" name="TextBox 16">
              <a:extLst>
                <a:ext uri="{FF2B5EF4-FFF2-40B4-BE49-F238E27FC236}">
                  <a16:creationId xmlns:a16="http://schemas.microsoft.com/office/drawing/2014/main" id="{53221178-FBD5-5799-E7EF-2E6BD4815F38}"/>
                </a:ext>
              </a:extLst>
            </p:cNvPr>
            <p:cNvSpPr txBox="1">
              <a:spLocks noChangeArrowheads="1"/>
            </p:cNvSpPr>
            <p:nvPr/>
          </p:nvSpPr>
          <p:spPr bwMode="auto">
            <a:xfrm>
              <a:off x="5569423" y="197376"/>
              <a:ext cx="1229811"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US" sz="900" b="1" kern="1200">
                  <a:solidFill>
                    <a:srgbClr val="000000"/>
                  </a:solidFill>
                  <a:effectLst/>
                  <a:latin typeface="Arial" panose="020B0604020202020204" pitchFamily="34" charset="0"/>
                  <a:ea typeface="Times New Roman" panose="02020603050405020304" pitchFamily="18" charset="0"/>
                </a:rPr>
                <a:t>STAGE 3</a:t>
              </a:r>
              <a:endParaRPr lang="en-US" sz="1200">
                <a:effectLst/>
                <a:latin typeface="Times New Roman" panose="02020603050405020304" pitchFamily="18" charset="0"/>
                <a:ea typeface="Times New Roman" panose="02020603050405020304" pitchFamily="18" charset="0"/>
              </a:endParaRPr>
            </a:p>
          </p:txBody>
        </p:sp>
        <p:cxnSp>
          <p:nvCxnSpPr>
            <p:cNvPr id="30" name="Straight Connector 29">
              <a:extLst>
                <a:ext uri="{FF2B5EF4-FFF2-40B4-BE49-F238E27FC236}">
                  <a16:creationId xmlns:a16="http://schemas.microsoft.com/office/drawing/2014/main" id="{5FA1AF5C-33DF-6023-C37F-CCF159B29F6F}"/>
                </a:ext>
              </a:extLst>
            </p:cNvPr>
            <p:cNvCxnSpPr>
              <a:cxnSpLocks noChangeShapeType="1"/>
            </p:cNvCxnSpPr>
            <p:nvPr/>
          </p:nvCxnSpPr>
          <p:spPr bwMode="auto">
            <a:xfrm flipV="1">
              <a:off x="-74538" y="514664"/>
              <a:ext cx="9858059" cy="23014"/>
            </a:xfrm>
            <a:prstGeom prst="line">
              <a:avLst/>
            </a:prstGeom>
            <a:noFill/>
            <a:ln w="222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Right Arrow 28844">
              <a:extLst>
                <a:ext uri="{FF2B5EF4-FFF2-40B4-BE49-F238E27FC236}">
                  <a16:creationId xmlns:a16="http://schemas.microsoft.com/office/drawing/2014/main" id="{B3FB4EDA-0D5C-F301-6E59-8EAA44F6F291}"/>
                </a:ext>
              </a:extLst>
            </p:cNvPr>
            <p:cNvSpPr>
              <a:spLocks noChangeArrowheads="1"/>
            </p:cNvSpPr>
            <p:nvPr/>
          </p:nvSpPr>
          <p:spPr bwMode="auto">
            <a:xfrm>
              <a:off x="5296876" y="2009495"/>
              <a:ext cx="272545"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32" name="Rectangle 31">
              <a:extLst>
                <a:ext uri="{FF2B5EF4-FFF2-40B4-BE49-F238E27FC236}">
                  <a16:creationId xmlns:a16="http://schemas.microsoft.com/office/drawing/2014/main" id="{A255DA28-5C96-18A3-217B-1984B26C5016}"/>
                </a:ext>
              </a:extLst>
            </p:cNvPr>
            <p:cNvSpPr/>
            <p:nvPr/>
          </p:nvSpPr>
          <p:spPr bwMode="auto">
            <a:xfrm>
              <a:off x="7088628" y="1501567"/>
              <a:ext cx="1398766" cy="1512168"/>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algn="just" fontAlgn="base">
                <a:spcBef>
                  <a:spcPts val="0"/>
                </a:spcBef>
                <a:spcAft>
                  <a:spcPts val="0"/>
                </a:spcAft>
              </a:pPr>
              <a:r>
                <a:rPr lang="en-ZA" sz="800" kern="1200">
                  <a:solidFill>
                    <a:srgbClr val="000000"/>
                  </a:solidFill>
                  <a:effectLst/>
                  <a:latin typeface="Tahoma" panose="020B0604030504040204" pitchFamily="34" charset="0"/>
                  <a:ea typeface="Times New Roman" panose="02020603050405020304" pitchFamily="18" charset="0"/>
                </a:rPr>
                <a:t>Selection of the preferred bidder. </a:t>
              </a:r>
              <a:endParaRPr lang="en-US" sz="120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ZA" sz="800" kern="1200">
                  <a:solidFill>
                    <a:srgbClr val="000000"/>
                  </a:solidFill>
                  <a:effectLst/>
                  <a:latin typeface="Tahoma" panose="020B060403050404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ZA" sz="800" kern="1200">
                  <a:solidFill>
                    <a:srgbClr val="000000"/>
                  </a:solidFill>
                  <a:effectLst/>
                  <a:latin typeface="Tahoma" panose="020B0604030504040204" pitchFamily="34" charset="0"/>
                  <a:ea typeface="Times New Roman" panose="02020603050405020304" pitchFamily="18" charset="0"/>
                </a:rPr>
                <a:t>(Objective criterion to justify award to someone other than the highest ranked bidder must have been stated in the bid documents and can be used at this stage, if applicable)</a:t>
              </a:r>
              <a:endParaRPr lang="en-US" sz="1200">
                <a:effectLst/>
                <a:latin typeface="Times New Roman" panose="02020603050405020304" pitchFamily="18" charset="0"/>
                <a:ea typeface="Times New Roman" panose="02020603050405020304" pitchFamily="18" charset="0"/>
              </a:endParaRPr>
            </a:p>
            <a:p>
              <a:pPr marL="0" marR="0" algn="just" fontAlgn="base">
                <a:spcBef>
                  <a:spcPts val="0"/>
                </a:spcBef>
                <a:spcAft>
                  <a:spcPts val="0"/>
                </a:spcAft>
              </a:pPr>
              <a:r>
                <a:rPr lang="en-ZA" sz="1200">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p:txBody>
        </p:sp>
        <p:sp>
          <p:nvSpPr>
            <p:cNvPr id="33" name="Rectangle 32">
              <a:extLst>
                <a:ext uri="{FF2B5EF4-FFF2-40B4-BE49-F238E27FC236}">
                  <a16:creationId xmlns:a16="http://schemas.microsoft.com/office/drawing/2014/main" id="{E10AB216-4662-0339-79A3-A46CFC948814}"/>
                </a:ext>
              </a:extLst>
            </p:cNvPr>
            <p:cNvSpPr/>
            <p:nvPr/>
          </p:nvSpPr>
          <p:spPr bwMode="auto">
            <a:xfrm>
              <a:off x="8861031" y="1677808"/>
              <a:ext cx="870395" cy="87405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fontAlgn="base">
                <a:spcBef>
                  <a:spcPts val="0"/>
                </a:spcBef>
                <a:spcAft>
                  <a:spcPts val="0"/>
                </a:spcAft>
              </a:pPr>
              <a:r>
                <a:rPr lang="en-US" sz="800" kern="1200">
                  <a:solidFill>
                    <a:srgbClr val="000000"/>
                  </a:solidFill>
                  <a:effectLst/>
                  <a:latin typeface="Tahoma" panose="020B0604030504040204" pitchFamily="34" charset="0"/>
                  <a:ea typeface="Times New Roman" panose="02020603050405020304" pitchFamily="18" charset="0"/>
                </a:rPr>
                <a:t>Award of business and conclusion of contract</a:t>
              </a:r>
              <a:endParaRPr lang="en-US" sz="1200">
                <a:effectLst/>
                <a:latin typeface="Times New Roman" panose="02020603050405020304" pitchFamily="18" charset="0"/>
                <a:ea typeface="Times New Roman" panose="02020603050405020304" pitchFamily="18" charset="0"/>
              </a:endParaRPr>
            </a:p>
          </p:txBody>
        </p:sp>
        <p:sp>
          <p:nvSpPr>
            <p:cNvPr id="34" name="Right Arrow 28847">
              <a:extLst>
                <a:ext uri="{FF2B5EF4-FFF2-40B4-BE49-F238E27FC236}">
                  <a16:creationId xmlns:a16="http://schemas.microsoft.com/office/drawing/2014/main" id="{AF57FB86-0F0F-FA45-7C63-F149F3CC4AEA}"/>
                </a:ext>
              </a:extLst>
            </p:cNvPr>
            <p:cNvSpPr>
              <a:spLocks noChangeArrowheads="1"/>
            </p:cNvSpPr>
            <p:nvPr/>
          </p:nvSpPr>
          <p:spPr bwMode="auto">
            <a:xfrm>
              <a:off x="8542006" y="1990966"/>
              <a:ext cx="272545"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35" name="TextBox 105">
              <a:extLst>
                <a:ext uri="{FF2B5EF4-FFF2-40B4-BE49-F238E27FC236}">
                  <a16:creationId xmlns:a16="http://schemas.microsoft.com/office/drawing/2014/main" id="{BC3A7A7B-6A13-5835-F6EF-C1A95F252ED5}"/>
                </a:ext>
              </a:extLst>
            </p:cNvPr>
            <p:cNvSpPr txBox="1">
              <a:spLocks noChangeArrowheads="1"/>
            </p:cNvSpPr>
            <p:nvPr/>
          </p:nvSpPr>
          <p:spPr bwMode="auto">
            <a:xfrm>
              <a:off x="5592382" y="1327031"/>
              <a:ext cx="1168735" cy="1776551"/>
            </a:xfrm>
            <a:prstGeom prst="rect">
              <a:avLst/>
            </a:prstGeom>
            <a:solidFill>
              <a:schemeClr val="bg2">
                <a:lumMod val="40000"/>
                <a:lumOff val="6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anchor="ctr">
              <a:noAutofit/>
            </a:bodyPr>
            <a:lstStyle/>
            <a:p>
              <a:pPr marL="0" marR="0" fontAlgn="base">
                <a:spcBef>
                  <a:spcPts val="0"/>
                </a:spcBef>
                <a:spcAft>
                  <a:spcPts val="0"/>
                </a:spcAft>
              </a:pPr>
              <a:r>
                <a:rPr lang="en-US" sz="800" kern="1200">
                  <a:solidFill>
                    <a:srgbClr val="000000"/>
                  </a:solidFill>
                  <a:effectLst/>
                  <a:latin typeface="Tahoma" panose="020B0604030504040204" pitchFamily="34" charset="0"/>
                  <a:ea typeface="Times New Roman" panose="02020603050405020304" pitchFamily="18" charset="0"/>
                </a:rPr>
                <a:t>Post tender negotiation with preferred bidder [2</a:t>
              </a:r>
              <a:r>
                <a:rPr lang="en-US" sz="800" kern="1200" baseline="30000">
                  <a:solidFill>
                    <a:srgbClr val="000000"/>
                  </a:solidFill>
                  <a:effectLst/>
                  <a:latin typeface="Tahoma" panose="020B0604030504040204" pitchFamily="34" charset="0"/>
                  <a:ea typeface="Times New Roman" panose="02020603050405020304" pitchFamily="18" charset="0"/>
                </a:rPr>
                <a:t>nd</a:t>
              </a:r>
              <a:r>
                <a:rPr lang="en-US" sz="800" kern="1200">
                  <a:solidFill>
                    <a:srgbClr val="000000"/>
                  </a:solidFill>
                  <a:effectLst/>
                  <a:latin typeface="Tahoma" panose="020B0604030504040204" pitchFamily="34" charset="0"/>
                  <a:ea typeface="Times New Roman" panose="02020603050405020304" pitchFamily="18" charset="0"/>
                </a:rPr>
                <a:t> and 3</a:t>
              </a:r>
              <a:r>
                <a:rPr lang="en-US" sz="800" kern="1200" baseline="30000">
                  <a:solidFill>
                    <a:srgbClr val="000000"/>
                  </a:solidFill>
                  <a:effectLst/>
                  <a:latin typeface="Tahoma" panose="020B0604030504040204" pitchFamily="34" charset="0"/>
                  <a:ea typeface="Times New Roman" panose="02020603050405020304" pitchFamily="18" charset="0"/>
                </a:rPr>
                <a:t>rd </a:t>
              </a:r>
              <a:r>
                <a:rPr lang="en-US" sz="800" kern="1200">
                  <a:solidFill>
                    <a:srgbClr val="000000"/>
                  </a:solidFill>
                  <a:effectLst/>
                  <a:latin typeface="Tahoma" panose="020B0604030504040204" pitchFamily="34" charset="0"/>
                  <a:ea typeface="Times New Roman" panose="02020603050405020304" pitchFamily="18" charset="0"/>
                </a:rPr>
                <a:t>ranked bidders (if required) in a sequential and not simultaneous manner] if pricing is not market-related</a:t>
              </a:r>
              <a:endParaRPr lang="en-US" sz="1200">
                <a:effectLst/>
                <a:latin typeface="Times New Roman" panose="02020603050405020304" pitchFamily="18" charset="0"/>
                <a:ea typeface="Times New Roman" panose="02020603050405020304" pitchFamily="18" charset="0"/>
              </a:endParaRPr>
            </a:p>
          </p:txBody>
        </p:sp>
        <p:sp>
          <p:nvSpPr>
            <p:cNvPr id="36" name="Rectangle 35">
              <a:extLst>
                <a:ext uri="{FF2B5EF4-FFF2-40B4-BE49-F238E27FC236}">
                  <a16:creationId xmlns:a16="http://schemas.microsoft.com/office/drawing/2014/main" id="{B221BAF5-317B-F407-D99A-C88B1B67DD87}"/>
                </a:ext>
              </a:extLst>
            </p:cNvPr>
            <p:cNvSpPr/>
            <p:nvPr/>
          </p:nvSpPr>
          <p:spPr>
            <a:xfrm>
              <a:off x="4379408" y="1645459"/>
              <a:ext cx="885233" cy="957234"/>
            </a:xfrm>
            <a:prstGeom prst="rect">
              <a:avLst/>
            </a:prstGeom>
            <a:solidFill>
              <a:schemeClr val="bg2">
                <a:lumMod val="20000"/>
                <a:lumOff val="80000"/>
              </a:schemeClr>
            </a:solidFill>
          </p:spPr>
          <p:style>
            <a:lnRef idx="2">
              <a:schemeClr val="accent1"/>
            </a:lnRef>
            <a:fillRef idx="1">
              <a:schemeClr val="lt1"/>
            </a:fillRef>
            <a:effectRef idx="0">
              <a:schemeClr val="accent1"/>
            </a:effectRef>
            <a:fontRef idx="minor">
              <a:schemeClr val="dk1"/>
            </a:fontRef>
          </p:style>
          <p:txBody>
            <a:bodyPr wrap="square">
              <a:noAutofit/>
            </a:bodyPr>
            <a:lstStyle/>
            <a:p>
              <a:pPr marL="0" marR="0" algn="l" fontAlgn="base">
                <a:lnSpc>
                  <a:spcPct val="150000"/>
                </a:lnSpc>
                <a:spcBef>
                  <a:spcPts val="0"/>
                </a:spcBef>
                <a:spcAft>
                  <a:spcPts val="0"/>
                </a:spcAft>
              </a:pPr>
              <a:r>
                <a:rPr lang="en-GB" sz="8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Price (9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l" fontAlgn="base">
                <a:lnSpc>
                  <a:spcPct val="150000"/>
                </a:lnSpc>
                <a:spcBef>
                  <a:spcPts val="0"/>
                </a:spcBef>
                <a:spcAft>
                  <a:spcPts val="0"/>
                </a:spcAft>
              </a:pPr>
              <a:r>
                <a:rPr lang="en-GB" sz="8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l" fontAlgn="base">
                <a:lnSpc>
                  <a:spcPct val="150000"/>
                </a:lnSpc>
                <a:spcBef>
                  <a:spcPts val="0"/>
                </a:spcBef>
                <a:spcAft>
                  <a:spcPts val="0"/>
                </a:spcAft>
              </a:pPr>
              <a:r>
                <a:rPr lang="en-GB" sz="800"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l" fontAlgn="base">
                <a:lnSpc>
                  <a:spcPct val="150000"/>
                </a:lnSpc>
                <a:spcBef>
                  <a:spcPts val="0"/>
                </a:spcBef>
                <a:spcAft>
                  <a:spcPts val="0"/>
                </a:spcAft>
              </a:pPr>
              <a:r>
                <a:rPr lang="en-GB" sz="800" kern="1200" dirty="0">
                  <a:effectLst/>
                  <a:latin typeface="Tahoma" panose="020B0604030504040204" pitchFamily="34" charset="0"/>
                  <a:ea typeface="Times New Roman" panose="02020603050405020304" pitchFamily="18" charset="0"/>
                  <a:cs typeface="Tahoma" panose="020B0604030504040204" pitchFamily="34" charset="0"/>
                </a:rPr>
                <a:t>Specific goals  </a:t>
              </a:r>
              <a:r>
                <a:rPr lang="en-GB" sz="8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p:txBody>
        </p:sp>
        <p:sp>
          <p:nvSpPr>
            <p:cNvPr id="37" name="Right Arrow 28850">
              <a:extLst>
                <a:ext uri="{FF2B5EF4-FFF2-40B4-BE49-F238E27FC236}">
                  <a16:creationId xmlns:a16="http://schemas.microsoft.com/office/drawing/2014/main" id="{942FF79F-12B4-85A2-7943-7156A9EF2AFE}"/>
                </a:ext>
              </a:extLst>
            </p:cNvPr>
            <p:cNvSpPr>
              <a:spLocks noChangeArrowheads="1"/>
            </p:cNvSpPr>
            <p:nvPr/>
          </p:nvSpPr>
          <p:spPr bwMode="auto">
            <a:xfrm>
              <a:off x="6799232" y="2000250"/>
              <a:ext cx="272545" cy="288000"/>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endParaRPr lang="en-US"/>
            </a:p>
          </p:txBody>
        </p:sp>
        <p:sp>
          <p:nvSpPr>
            <p:cNvPr id="38" name="TextBox 3">
              <a:extLst>
                <a:ext uri="{FF2B5EF4-FFF2-40B4-BE49-F238E27FC236}">
                  <a16:creationId xmlns:a16="http://schemas.microsoft.com/office/drawing/2014/main" id="{195C3DC9-879D-3282-6FE2-1F4C76A5AD6C}"/>
                </a:ext>
              </a:extLst>
            </p:cNvPr>
            <p:cNvSpPr txBox="1">
              <a:spLocks noChangeArrowheads="1"/>
            </p:cNvSpPr>
            <p:nvPr/>
          </p:nvSpPr>
          <p:spPr bwMode="auto">
            <a:xfrm>
              <a:off x="2307658" y="793950"/>
              <a:ext cx="1165158" cy="511203"/>
            </a:xfrm>
            <a:prstGeom prst="rect">
              <a:avLst/>
            </a:prstGeom>
            <a:noFill/>
            <a:ln/>
          </p:spPr>
          <p:style>
            <a:lnRef idx="2">
              <a:schemeClr val="dk1"/>
            </a:lnRef>
            <a:fillRef idx="1">
              <a:schemeClr val="lt1"/>
            </a:fillRef>
            <a:effectRef idx="0">
              <a:schemeClr val="dk1"/>
            </a:effectRef>
            <a:fontRef idx="minor">
              <a:schemeClr val="dk1"/>
            </a:fontRef>
          </p:style>
          <p:txBody>
            <a:bodyPr wrap="square" anchor="ctr">
              <a:noAutofit/>
            </a:bodyPr>
            <a:lstStyle/>
            <a:p>
              <a:pPr marL="0" marR="0" algn="ctr" fontAlgn="base"/>
              <a:r>
                <a:rPr lang="en-ZA" sz="800" kern="1200">
                  <a:solidFill>
                    <a:srgbClr val="000000"/>
                  </a:solidFill>
                  <a:effectLst/>
                  <a:latin typeface="Tahoma" panose="020B0604030504040204" pitchFamily="34" charset="0"/>
                  <a:ea typeface="Times New Roman" panose="02020603050405020304" pitchFamily="18" charset="0"/>
                </a:rPr>
                <a:t>MINIMUM THRESHOLDS:</a:t>
              </a:r>
              <a:endParaRPr lang="en-US" sz="1200">
                <a:effectLst/>
                <a:latin typeface="Times New Roman" panose="02020603050405020304" pitchFamily="18" charset="0"/>
                <a:ea typeface="Times New Roman" panose="02020603050405020304" pitchFamily="18" charset="0"/>
              </a:endParaRPr>
            </a:p>
            <a:p>
              <a:pPr marL="0" marR="0" algn="ctr" fontAlgn="base"/>
              <a:r>
                <a:rPr lang="en-ZA" sz="800" b="1" kern="1200">
                  <a:solidFill>
                    <a:srgbClr val="000000"/>
                  </a:solidFill>
                  <a:effectLst/>
                  <a:latin typeface="Tahoma" panose="020B0604030504040204" pitchFamily="34" charset="0"/>
                  <a:ea typeface="Times New Roman" panose="02020603050405020304" pitchFamily="18" charset="0"/>
                </a:rPr>
                <a:t>80 points</a:t>
              </a:r>
              <a:endParaRPr lang="en-US" sz="1200">
                <a:effectLst/>
                <a:latin typeface="Times New Roman" panose="02020603050405020304" pitchFamily="18" charset="0"/>
                <a:ea typeface="Times New Roman" panose="02020603050405020304" pitchFamily="18" charset="0"/>
              </a:endParaRPr>
            </a:p>
          </p:txBody>
        </p:sp>
        <p:sp>
          <p:nvSpPr>
            <p:cNvPr id="39" name="TextBox 16">
              <a:extLst>
                <a:ext uri="{FF2B5EF4-FFF2-40B4-BE49-F238E27FC236}">
                  <a16:creationId xmlns:a16="http://schemas.microsoft.com/office/drawing/2014/main" id="{09E287CF-50A4-3757-CC2E-2F791D911C0C}"/>
                </a:ext>
              </a:extLst>
            </p:cNvPr>
            <p:cNvSpPr txBox="1">
              <a:spLocks noChangeArrowheads="1"/>
            </p:cNvSpPr>
            <p:nvPr/>
          </p:nvSpPr>
          <p:spPr bwMode="auto">
            <a:xfrm>
              <a:off x="5480624" y="504225"/>
              <a:ext cx="859245"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Arial" panose="020B0604020202020204" pitchFamily="34" charset="0"/>
                  <a:ea typeface="Times New Roman" panose="02020603050405020304" pitchFamily="18" charset="0"/>
                </a:rPr>
                <a:t>Step 5</a:t>
              </a:r>
              <a:endParaRPr lang="en-US" sz="1200">
                <a:effectLst/>
                <a:latin typeface="Times New Roman" panose="02020603050405020304" pitchFamily="18" charset="0"/>
                <a:ea typeface="Times New Roman" panose="02020603050405020304" pitchFamily="18" charset="0"/>
              </a:endParaRPr>
            </a:p>
          </p:txBody>
        </p:sp>
        <p:sp>
          <p:nvSpPr>
            <p:cNvPr id="40" name="TextBox 16">
              <a:extLst>
                <a:ext uri="{FF2B5EF4-FFF2-40B4-BE49-F238E27FC236}">
                  <a16:creationId xmlns:a16="http://schemas.microsoft.com/office/drawing/2014/main" id="{C1557074-2388-5422-E7A6-49182E03ED0D}"/>
                </a:ext>
              </a:extLst>
            </p:cNvPr>
            <p:cNvSpPr txBox="1">
              <a:spLocks noChangeArrowheads="1"/>
            </p:cNvSpPr>
            <p:nvPr/>
          </p:nvSpPr>
          <p:spPr bwMode="auto">
            <a:xfrm>
              <a:off x="7108281" y="499473"/>
              <a:ext cx="842348"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Arial" panose="020B0604020202020204" pitchFamily="34" charset="0"/>
                  <a:ea typeface="Times New Roman" panose="02020603050405020304" pitchFamily="18" charset="0"/>
                </a:rPr>
                <a:t>Step 6</a:t>
              </a:r>
              <a:endParaRPr lang="en-US" sz="1200">
                <a:effectLst/>
                <a:latin typeface="Times New Roman" panose="02020603050405020304" pitchFamily="18" charset="0"/>
                <a:ea typeface="Times New Roman" panose="02020603050405020304" pitchFamily="18" charset="0"/>
              </a:endParaRPr>
            </a:p>
          </p:txBody>
        </p:sp>
        <p:sp>
          <p:nvSpPr>
            <p:cNvPr id="41" name="TextBox 16">
              <a:extLst>
                <a:ext uri="{FF2B5EF4-FFF2-40B4-BE49-F238E27FC236}">
                  <a16:creationId xmlns:a16="http://schemas.microsoft.com/office/drawing/2014/main" id="{56D34B32-BDC4-FD4B-9518-2F7295453B74}"/>
                </a:ext>
              </a:extLst>
            </p:cNvPr>
            <p:cNvSpPr txBox="1">
              <a:spLocks noChangeArrowheads="1"/>
            </p:cNvSpPr>
            <p:nvPr/>
          </p:nvSpPr>
          <p:spPr bwMode="auto">
            <a:xfrm>
              <a:off x="8736875" y="503021"/>
              <a:ext cx="754380"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fontAlgn="base"/>
              <a:r>
                <a:rPr lang="en-ZA" sz="900" b="1" kern="1200">
                  <a:solidFill>
                    <a:srgbClr val="000000"/>
                  </a:solidFill>
                  <a:effectLst/>
                  <a:latin typeface="Arial" panose="020B0604020202020204" pitchFamily="34" charset="0"/>
                  <a:ea typeface="Times New Roman" panose="02020603050405020304" pitchFamily="18" charset="0"/>
                </a:rPr>
                <a:t>Step 7</a:t>
              </a:r>
              <a:endParaRPr lang="en-US" sz="1200">
                <a:effectLst/>
                <a:latin typeface="Times New Roman" panose="02020603050405020304" pitchFamily="18" charset="0"/>
                <a:ea typeface="Times New Roman" panose="02020603050405020304" pitchFamily="18" charset="0"/>
              </a:endParaRPr>
            </a:p>
          </p:txBody>
        </p:sp>
        <p:cxnSp>
          <p:nvCxnSpPr>
            <p:cNvPr id="42" name="Straight Connector 41">
              <a:extLst>
                <a:ext uri="{FF2B5EF4-FFF2-40B4-BE49-F238E27FC236}">
                  <a16:creationId xmlns:a16="http://schemas.microsoft.com/office/drawing/2014/main" id="{D0D37F7C-1B80-2013-234F-D4B7D5A9F80E}"/>
                </a:ext>
              </a:extLst>
            </p:cNvPr>
            <p:cNvCxnSpPr>
              <a:cxnSpLocks noChangeShapeType="1"/>
            </p:cNvCxnSpPr>
            <p:nvPr/>
          </p:nvCxnSpPr>
          <p:spPr bwMode="auto">
            <a:xfrm flipH="1">
              <a:off x="2197566" y="116947"/>
              <a:ext cx="39696" cy="3779641"/>
            </a:xfrm>
            <a:prstGeom prst="line">
              <a:avLst/>
            </a:prstGeom>
            <a:noFill/>
            <a:ln w="222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46" name="TextBox 3">
              <a:extLst>
                <a:ext uri="{FF2B5EF4-FFF2-40B4-BE49-F238E27FC236}">
                  <a16:creationId xmlns:a16="http://schemas.microsoft.com/office/drawing/2014/main" id="{C6374483-FB41-01A4-DE3F-1340C14B9B50}"/>
                </a:ext>
              </a:extLst>
            </p:cNvPr>
            <p:cNvSpPr txBox="1">
              <a:spLocks noChangeArrowheads="1"/>
            </p:cNvSpPr>
            <p:nvPr/>
          </p:nvSpPr>
          <p:spPr bwMode="auto">
            <a:xfrm>
              <a:off x="3328844" y="945000"/>
              <a:ext cx="1038151" cy="88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algn="ctr" fontAlgn="base">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p:txBody>
        </p:sp>
      </p:grpSp>
      <p:sp>
        <p:nvSpPr>
          <p:cNvPr id="47" name="TextBox 8">
            <a:extLst>
              <a:ext uri="{FF2B5EF4-FFF2-40B4-BE49-F238E27FC236}">
                <a16:creationId xmlns:a16="http://schemas.microsoft.com/office/drawing/2014/main" id="{82C52E43-CAE4-5901-D8BB-03E0F8A8CF95}"/>
              </a:ext>
            </a:extLst>
          </p:cNvPr>
          <p:cNvSpPr txBox="1">
            <a:spLocks noChangeArrowheads="1"/>
          </p:cNvSpPr>
          <p:nvPr/>
        </p:nvSpPr>
        <p:spPr bwMode="auto">
          <a:xfrm>
            <a:off x="4115138" y="5593178"/>
            <a:ext cx="8286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ZA" altLang="en-US" sz="1800" b="0" i="0" u="none" strike="noStrike" cap="none" normalizeH="0" baseline="0" dirty="0">
              <a:ln>
                <a:noFill/>
              </a:ln>
              <a:solidFill>
                <a:schemeClr val="tx1"/>
              </a:solidFill>
              <a:effectLst/>
              <a:latin typeface="Arial" panose="020B0604020202020204" pitchFamily="34" charset="0"/>
            </a:endParaRPr>
          </a:p>
        </p:txBody>
      </p:sp>
      <p:sp>
        <p:nvSpPr>
          <p:cNvPr id="48" name="Rectangle 45">
            <a:extLst>
              <a:ext uri="{FF2B5EF4-FFF2-40B4-BE49-F238E27FC236}">
                <a16:creationId xmlns:a16="http://schemas.microsoft.com/office/drawing/2014/main" id="{8FD7DD1F-0F3C-C132-D590-B6F15218BE08}"/>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1" name="Rectangle 73">
            <a:extLst>
              <a:ext uri="{FF2B5EF4-FFF2-40B4-BE49-F238E27FC236}">
                <a16:creationId xmlns:a16="http://schemas.microsoft.com/office/drawing/2014/main" id="{26812095-FBA8-7648-FD72-488B69323863}"/>
              </a:ext>
            </a:extLst>
          </p:cNvPr>
          <p:cNvSpPr>
            <a:spLocks noChangeArrowheads="1"/>
          </p:cNvSpPr>
          <p:nvPr/>
        </p:nvSpPr>
        <p:spPr bwMode="auto">
          <a:xfrm>
            <a:off x="512763" y="1200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6709757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578004" y="849085"/>
            <a:ext cx="9490664" cy="5075854"/>
          </a:xfrm>
          <a:prstGeom prst="rect">
            <a:avLst/>
          </a:prstGeom>
        </p:spPr>
        <p:txBody>
          <a:bodyPr vert="horz" lIns="36000" tIns="18000" rIns="0" bIns="18000" rtlCol="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fontAlgn="base">
              <a:spcBef>
                <a:spcPct val="0"/>
              </a:spcBef>
              <a:spcAft>
                <a:spcPct val="0"/>
              </a:spcAft>
            </a:pPr>
            <a:r>
              <a:rPr lang="en-ZA" sz="2000" b="1" dirty="0">
                <a:solidFill>
                  <a:srgbClr val="C00000"/>
                </a:solidFill>
                <a:latin typeface="Tahoma" pitchFamily="34" charset="0"/>
                <a:cs typeface="Arial" charset="0"/>
              </a:rPr>
              <a:t>TEST FOR RESPONSIVENESS</a:t>
            </a:r>
          </a:p>
          <a:p>
            <a:pPr fontAlgn="base">
              <a:spcBef>
                <a:spcPct val="0"/>
              </a:spcBef>
              <a:spcAft>
                <a:spcPct val="0"/>
              </a:spcAft>
            </a:pPr>
            <a:endParaRPr lang="en-ZA" sz="2000" b="1" dirty="0">
              <a:solidFill>
                <a:prstClr val="black"/>
              </a:solidFill>
              <a:latin typeface="Tahoma" pitchFamily="34" charset="0"/>
              <a:cs typeface="Arial" charset="0"/>
            </a:endParaRPr>
          </a:p>
          <a:p>
            <a:pPr fontAlgn="base">
              <a:spcBef>
                <a:spcPct val="0"/>
              </a:spcBef>
              <a:spcAft>
                <a:spcPct val="0"/>
              </a:spcAft>
            </a:pPr>
            <a:r>
              <a:rPr lang="en-ZA" sz="1200" b="1" dirty="0">
                <a:solidFill>
                  <a:prstClr val="black"/>
                </a:solidFill>
                <a:latin typeface="+mj-lt"/>
                <a:cs typeface="Arial" charset="0"/>
              </a:rPr>
              <a:t>Step 1: Administrative Responsiveness</a:t>
            </a:r>
          </a:p>
          <a:p>
            <a:pPr fontAlgn="base">
              <a:spcBef>
                <a:spcPct val="0"/>
              </a:spcBef>
              <a:spcAft>
                <a:spcPct val="0"/>
              </a:spcAft>
            </a:pPr>
            <a:endParaRPr lang="en-ZA" sz="1200" b="1" dirty="0">
              <a:solidFill>
                <a:prstClr val="black"/>
              </a:solidFill>
              <a:latin typeface="+mj-lt"/>
              <a:cs typeface="Arial" charset="0"/>
            </a:endParaRPr>
          </a:p>
          <a:p>
            <a:pPr marL="285750" indent="-285750" fontAlgn="base">
              <a:spcBef>
                <a:spcPct val="0"/>
              </a:spcBef>
              <a:spcAft>
                <a:spcPct val="0"/>
              </a:spcAft>
              <a:buFont typeface="Courier New" panose="02070309020205020404" pitchFamily="49" charset="0"/>
              <a:buChar char="o"/>
            </a:pPr>
            <a:r>
              <a:rPr lang="en-ZA" sz="1200" dirty="0">
                <a:solidFill>
                  <a:prstClr val="black"/>
                </a:solidFill>
                <a:latin typeface="+mj-lt"/>
                <a:cs typeface="Arial" charset="0"/>
              </a:rPr>
              <a:t>Whether the bid has been lodged on time. (Section 2 Paragraph 3)</a:t>
            </a:r>
          </a:p>
          <a:p>
            <a:pPr marL="285750" indent="-285750">
              <a:spcBef>
                <a:spcPct val="0"/>
              </a:spcBef>
              <a:spcAft>
                <a:spcPct val="0"/>
              </a:spcAft>
              <a:buFont typeface="Courier New" panose="02070309020205020404" pitchFamily="49" charset="0"/>
              <a:buChar char="o"/>
            </a:pPr>
            <a:r>
              <a:rPr lang="en-ZA" sz="1200" dirty="0">
                <a:solidFill>
                  <a:prstClr val="black"/>
                </a:solidFill>
                <a:latin typeface="+mj-lt"/>
                <a:cs typeface="Arial" charset="0"/>
              </a:rPr>
              <a:t>Verify if the bid documents has been duly signed by authorised respondent. (All sections)</a:t>
            </a:r>
          </a:p>
          <a:p>
            <a:pPr>
              <a:spcBef>
                <a:spcPct val="0"/>
              </a:spcBef>
              <a:spcAft>
                <a:spcPct val="0"/>
              </a:spcAft>
            </a:pPr>
            <a:endParaRPr lang="en-US" sz="1200" dirty="0">
              <a:solidFill>
                <a:prstClr val="black"/>
              </a:solidFill>
              <a:latin typeface="+mj-lt"/>
              <a:cs typeface="Arial" charset="0"/>
            </a:endParaRPr>
          </a:p>
          <a:p>
            <a:pPr lvl="0">
              <a:spcBef>
                <a:spcPct val="0"/>
              </a:spcBef>
              <a:spcAft>
                <a:spcPct val="0"/>
              </a:spcAft>
            </a:pPr>
            <a:r>
              <a:rPr lang="en-ZA" sz="1200" b="1" dirty="0">
                <a:solidFill>
                  <a:prstClr val="black"/>
                </a:solidFill>
                <a:latin typeface="+mj-lt"/>
                <a:cs typeface="Arial" charset="0"/>
              </a:rPr>
              <a:t>Step 2: Substantive Responsiveness </a:t>
            </a:r>
          </a:p>
          <a:p>
            <a:pPr lvl="0">
              <a:spcBef>
                <a:spcPct val="0"/>
              </a:spcBef>
              <a:spcAft>
                <a:spcPct val="0"/>
              </a:spcAft>
            </a:pPr>
            <a:endParaRPr lang="en-ZA" sz="1200" b="1" dirty="0">
              <a:solidFill>
                <a:prstClr val="black"/>
              </a:solidFill>
              <a:latin typeface="+mj-lt"/>
              <a:cs typeface="Arial" charset="0"/>
            </a:endParaRPr>
          </a:p>
          <a:p>
            <a:pPr marL="285750" indent="-285750">
              <a:spcBef>
                <a:spcPct val="0"/>
              </a:spcBef>
              <a:spcAft>
                <a:spcPct val="0"/>
              </a:spcAft>
              <a:buFont typeface="Courier New" panose="02070309020205020404" pitchFamily="49" charset="0"/>
              <a:buChar char="o"/>
            </a:pPr>
            <a:r>
              <a:rPr lang="en-US" sz="1200" dirty="0">
                <a:solidFill>
                  <a:srgbClr val="000000"/>
                </a:solidFill>
                <a:latin typeface="+mj-lt"/>
              </a:rPr>
              <a:t>Whether the bid contains a priced offer as prescribed in the pricing schedule. (Section 4)</a:t>
            </a:r>
          </a:p>
          <a:p>
            <a:pPr marL="285750" indent="-285750">
              <a:spcBef>
                <a:spcPct val="0"/>
              </a:spcBef>
              <a:spcAft>
                <a:spcPct val="0"/>
              </a:spcAft>
              <a:buFont typeface="Courier New" panose="02070309020205020404" pitchFamily="49" charset="0"/>
              <a:buChar char="o"/>
            </a:pPr>
            <a:r>
              <a:rPr lang="en-US" sz="1200" dirty="0">
                <a:solidFill>
                  <a:srgbClr val="000000"/>
                </a:solidFill>
                <a:latin typeface="+mj-lt"/>
              </a:rPr>
              <a:t>Proof of registration with  Employee Assistance Professionals Association of South Africa (EAPA-SA) (Annexure H)</a:t>
            </a:r>
          </a:p>
          <a:p>
            <a:pPr lvl="0">
              <a:spcBef>
                <a:spcPct val="0"/>
              </a:spcBef>
              <a:spcAft>
                <a:spcPct val="0"/>
              </a:spcAft>
            </a:pPr>
            <a:endParaRPr lang="en-ZA" sz="1200" dirty="0">
              <a:solidFill>
                <a:srgbClr val="000000"/>
              </a:solidFill>
              <a:latin typeface="+mj-lt"/>
            </a:endParaRPr>
          </a:p>
          <a:p>
            <a:pPr marL="285750" indent="-285750">
              <a:spcBef>
                <a:spcPct val="0"/>
              </a:spcBef>
              <a:spcAft>
                <a:spcPct val="0"/>
              </a:spcAft>
              <a:buFont typeface="Wingdings" panose="05000000000000000000" pitchFamily="2" charset="2"/>
              <a:buChar char="v"/>
            </a:pPr>
            <a:r>
              <a:rPr lang="en-US" sz="1200" b="1" i="1" dirty="0">
                <a:solidFill>
                  <a:srgbClr val="000000"/>
                </a:solidFill>
                <a:latin typeface="+mj-lt"/>
              </a:rPr>
              <a:t>The test for  substantive responsiveness [Step Two] must be passed for a Respondent’s Proposal to progress to Step Three for further Evaluation.</a:t>
            </a:r>
            <a:endParaRPr lang="en-ZA" sz="1200" b="1" i="1" dirty="0">
              <a:solidFill>
                <a:srgbClr val="000000"/>
              </a:solidFill>
              <a:latin typeface="+mj-lt"/>
            </a:endParaRPr>
          </a:p>
          <a:p>
            <a:pPr marL="285750" indent="-285750">
              <a:lnSpc>
                <a:spcPct val="150000"/>
              </a:lnSpc>
              <a:spcBef>
                <a:spcPts val="300"/>
              </a:spcBef>
              <a:spcAft>
                <a:spcPts val="0"/>
              </a:spcAft>
              <a:buFont typeface="Wingdings" panose="05000000000000000000" pitchFamily="2" charset="2"/>
              <a:buChar char="v"/>
            </a:pPr>
            <a:endParaRPr lang="en-ZA" b="1" i="1" dirty="0">
              <a:solidFill>
                <a:schemeClr val="tx1"/>
              </a:solidFill>
            </a:endParaRPr>
          </a:p>
          <a:p>
            <a:pPr marL="285750" indent="-285750" fontAlgn="base">
              <a:spcBef>
                <a:spcPct val="0"/>
              </a:spcBef>
              <a:spcAft>
                <a:spcPct val="0"/>
              </a:spcAft>
              <a:buFont typeface="Courier New" panose="02070309020205020404" pitchFamily="49" charset="0"/>
              <a:buChar char="o"/>
            </a:pPr>
            <a:endParaRPr lang="en-ZA" dirty="0">
              <a:solidFill>
                <a:schemeClr val="tx1"/>
              </a:solidFill>
              <a:latin typeface="Tahoma" pitchFamily="34" charset="0"/>
              <a:cs typeface="Arial" charset="0"/>
            </a:endParaRPr>
          </a:p>
          <a:p>
            <a:pPr fontAlgn="base">
              <a:spcBef>
                <a:spcPct val="0"/>
              </a:spcBef>
              <a:spcAft>
                <a:spcPct val="0"/>
              </a:spcAft>
            </a:pPr>
            <a:endParaRPr lang="en-ZA" dirty="0">
              <a:solidFill>
                <a:schemeClr val="tx1"/>
              </a:solidFill>
              <a:latin typeface="Tahoma" pitchFamily="34" charset="0"/>
              <a:cs typeface="Arial" charset="0"/>
            </a:endParaRPr>
          </a:p>
        </p:txBody>
      </p:sp>
      <p:sp>
        <p:nvSpPr>
          <p:cNvPr id="6" name="Title 5">
            <a:extLst>
              <a:ext uri="{FF2B5EF4-FFF2-40B4-BE49-F238E27FC236}">
                <a16:creationId xmlns:a16="http://schemas.microsoft.com/office/drawing/2014/main" id="{6F01E207-E25D-533E-3A39-63672B4BE346}"/>
              </a:ext>
            </a:extLst>
          </p:cNvPr>
          <p:cNvSpPr>
            <a:spLocks noGrp="1"/>
          </p:cNvSpPr>
          <p:nvPr>
            <p:ph type="title"/>
          </p:nvPr>
        </p:nvSpPr>
        <p:spPr/>
        <p:txBody>
          <a:bodyPr/>
          <a:lstStyle/>
          <a:p>
            <a:r>
              <a:rPr lang="en-ZA" dirty="0"/>
              <a:t> </a:t>
            </a:r>
          </a:p>
        </p:txBody>
      </p:sp>
      <p:sp>
        <p:nvSpPr>
          <p:cNvPr id="7" name="Title 25">
            <a:extLst>
              <a:ext uri="{FF2B5EF4-FFF2-40B4-BE49-F238E27FC236}">
                <a16:creationId xmlns:a16="http://schemas.microsoft.com/office/drawing/2014/main" id="{4049FDF3-CE67-7461-0B1D-1FD235E29EF3}"/>
              </a:ext>
            </a:extLst>
          </p:cNvPr>
          <p:cNvSpPr txBox="1">
            <a:spLocks/>
          </p:cNvSpPr>
          <p:nvPr/>
        </p:nvSpPr>
        <p:spPr>
          <a:xfrm>
            <a:off x="288000" y="108000"/>
            <a:ext cx="10079725" cy="738664"/>
          </a:xfr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t>PROCUREMENT PROCESS </a:t>
            </a:r>
            <a:br>
              <a:rPr lang="en-US" dirty="0"/>
            </a:br>
            <a:r>
              <a:rPr lang="en-US" sz="1800" b="0" dirty="0">
                <a:solidFill>
                  <a:schemeClr val="bg1">
                    <a:lumMod val="50000"/>
                  </a:schemeClr>
                </a:solidFill>
              </a:rPr>
              <a:t>Evaluation Methodology</a:t>
            </a:r>
            <a:endParaRPr lang="en-US" b="0" dirty="0">
              <a:solidFill>
                <a:schemeClr val="bg1">
                  <a:lumMod val="50000"/>
                </a:schemeClr>
              </a:solidFill>
            </a:endParaRPr>
          </a:p>
        </p:txBody>
      </p:sp>
    </p:spTree>
    <p:extLst>
      <p:ext uri="{BB962C8B-B14F-4D97-AF65-F5344CB8AC3E}">
        <p14:creationId xmlns:p14="http://schemas.microsoft.com/office/powerpoint/2010/main" val="2577328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3">
            <a:extLst>
              <a:ext uri="{FF2B5EF4-FFF2-40B4-BE49-F238E27FC236}">
                <a16:creationId xmlns:a16="http://schemas.microsoft.com/office/drawing/2014/main" id="{CE959F53-6AD9-93C2-4F2E-B43D5E249769}"/>
              </a:ext>
            </a:extLst>
          </p:cNvPr>
          <p:cNvSpPr txBox="1">
            <a:spLocks/>
          </p:cNvSpPr>
          <p:nvPr/>
        </p:nvSpPr>
        <p:spPr>
          <a:xfrm>
            <a:off x="582530" y="846664"/>
            <a:ext cx="9490664" cy="5075854"/>
          </a:xfrm>
          <a:prstGeom prst="rect">
            <a:avLst/>
          </a:prstGeom>
        </p:spPr>
        <p:txBody>
          <a:bodyPr vert="horz" lIns="36000" tIns="18000" rIns="0" bIns="18000" rtlCol="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fontAlgn="base">
              <a:spcBef>
                <a:spcPct val="0"/>
              </a:spcBef>
              <a:spcAft>
                <a:spcPct val="0"/>
              </a:spcAft>
            </a:pPr>
            <a:r>
              <a:rPr lang="en-ZA" sz="1400" b="1" dirty="0">
                <a:solidFill>
                  <a:srgbClr val="C00000"/>
                </a:solidFill>
                <a:latin typeface="Tahoma" pitchFamily="34" charset="0"/>
                <a:cs typeface="Arial" charset="0"/>
              </a:rPr>
              <a:t>TECHNICAL: </a:t>
            </a:r>
          </a:p>
          <a:p>
            <a:pPr fontAlgn="base">
              <a:spcBef>
                <a:spcPct val="0"/>
              </a:spcBef>
              <a:spcAft>
                <a:spcPct val="0"/>
              </a:spcAft>
            </a:pPr>
            <a:endParaRPr lang="en-ZA" sz="2000" b="1" dirty="0">
              <a:solidFill>
                <a:srgbClr val="C00000"/>
              </a:solidFill>
              <a:latin typeface="Tahoma" pitchFamily="34" charset="0"/>
              <a:cs typeface="Arial" charset="0"/>
            </a:endParaRPr>
          </a:p>
        </p:txBody>
      </p:sp>
      <p:sp>
        <p:nvSpPr>
          <p:cNvPr id="7" name="Title 6">
            <a:extLst>
              <a:ext uri="{FF2B5EF4-FFF2-40B4-BE49-F238E27FC236}">
                <a16:creationId xmlns:a16="http://schemas.microsoft.com/office/drawing/2014/main" id="{77E7E516-4758-093E-30E8-8E74E3601282}"/>
              </a:ext>
            </a:extLst>
          </p:cNvPr>
          <p:cNvSpPr>
            <a:spLocks noGrp="1"/>
          </p:cNvSpPr>
          <p:nvPr>
            <p:ph type="title"/>
          </p:nvPr>
        </p:nvSpPr>
        <p:spPr/>
        <p:txBody>
          <a:bodyPr/>
          <a:lstStyle/>
          <a:p>
            <a:r>
              <a:rPr lang="en-ZA" dirty="0"/>
              <a:t> </a:t>
            </a:r>
          </a:p>
        </p:txBody>
      </p:sp>
      <p:sp>
        <p:nvSpPr>
          <p:cNvPr id="8" name="Title 25">
            <a:extLst>
              <a:ext uri="{FF2B5EF4-FFF2-40B4-BE49-F238E27FC236}">
                <a16:creationId xmlns:a16="http://schemas.microsoft.com/office/drawing/2014/main" id="{679A1804-E073-C634-375A-42C3C6D4438E}"/>
              </a:ext>
            </a:extLst>
          </p:cNvPr>
          <p:cNvSpPr txBox="1">
            <a:spLocks/>
          </p:cNvSpPr>
          <p:nvPr/>
        </p:nvSpPr>
        <p:spPr>
          <a:xfrm>
            <a:off x="288000" y="108000"/>
            <a:ext cx="10079725" cy="738664"/>
          </a:xfr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t>PROCUREMENT PROCESS </a:t>
            </a:r>
            <a:br>
              <a:rPr lang="en-US" dirty="0"/>
            </a:br>
            <a:r>
              <a:rPr lang="en-US" sz="1800" b="0" dirty="0">
                <a:solidFill>
                  <a:schemeClr val="bg1">
                    <a:lumMod val="50000"/>
                  </a:schemeClr>
                </a:solidFill>
              </a:rPr>
              <a:t>Evaluation Methodology (</a:t>
            </a:r>
            <a:r>
              <a:rPr lang="en-US" sz="1800" b="0" dirty="0" err="1">
                <a:solidFill>
                  <a:schemeClr val="bg1">
                    <a:lumMod val="50000"/>
                  </a:schemeClr>
                </a:solidFill>
              </a:rPr>
              <a:t>cont</a:t>
            </a:r>
            <a:r>
              <a:rPr lang="en-US" sz="1800" b="0" dirty="0">
                <a:solidFill>
                  <a:schemeClr val="bg1">
                    <a:lumMod val="50000"/>
                  </a:schemeClr>
                </a:solidFill>
              </a:rPr>
              <a:t>)</a:t>
            </a:r>
            <a:endParaRPr lang="en-US" b="0" dirty="0">
              <a:solidFill>
                <a:schemeClr val="bg1">
                  <a:lumMod val="50000"/>
                </a:schemeClr>
              </a:solidFill>
            </a:endParaRPr>
          </a:p>
        </p:txBody>
      </p:sp>
      <p:sp>
        <p:nvSpPr>
          <p:cNvPr id="4" name="Rectangle 1">
            <a:extLst>
              <a:ext uri="{FF2B5EF4-FFF2-40B4-BE49-F238E27FC236}">
                <a16:creationId xmlns:a16="http://schemas.microsoft.com/office/drawing/2014/main" id="{A4CED915-4A4A-21D2-0F92-E199F6391A31}"/>
              </a:ext>
            </a:extLst>
          </p:cNvPr>
          <p:cNvSpPr>
            <a:spLocks noChangeArrowheads="1"/>
          </p:cNvSpPr>
          <p:nvPr/>
        </p:nvSpPr>
        <p:spPr bwMode="auto">
          <a:xfrm>
            <a:off x="-578004" y="105546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498" tIns="152352" rIns="0" bIns="0" numCol="1" anchor="ctr" anchorCtr="0" compatLnSpc="1">
            <a:prstTxWarp prst="textNoShape">
              <a:avLst/>
            </a:prstTxWarp>
            <a:spAutoFit/>
          </a:bodyPr>
          <a:lstStyle>
            <a:lvl1pPr eaLnBrk="0" fontAlgn="base" hangingPunct="0">
              <a:spcBef>
                <a:spcPct val="0"/>
              </a:spcBef>
              <a:spcAft>
                <a:spcPct val="0"/>
              </a:spcAft>
              <a:tabLst>
                <a:tab pos="292100" algn="l"/>
              </a:tabLst>
              <a:defRPr>
                <a:solidFill>
                  <a:schemeClr val="tx1"/>
                </a:solidFill>
                <a:latin typeface="Arial" panose="020B0604020202020204" pitchFamily="34" charset="0"/>
              </a:defRPr>
            </a:lvl1pPr>
            <a:lvl2pPr eaLnBrk="0" fontAlgn="base" hangingPunct="0">
              <a:spcBef>
                <a:spcPct val="0"/>
              </a:spcBef>
              <a:spcAft>
                <a:spcPct val="0"/>
              </a:spcAft>
              <a:tabLst>
                <a:tab pos="292100" algn="l"/>
              </a:tabLst>
              <a:defRPr>
                <a:solidFill>
                  <a:schemeClr val="tx1"/>
                </a:solidFill>
                <a:latin typeface="Arial" panose="020B0604020202020204" pitchFamily="34" charset="0"/>
              </a:defRPr>
            </a:lvl2pPr>
            <a:lvl3pPr eaLnBrk="0" fontAlgn="base" hangingPunct="0">
              <a:spcBef>
                <a:spcPct val="0"/>
              </a:spcBef>
              <a:spcAft>
                <a:spcPct val="0"/>
              </a:spcAft>
              <a:tabLst>
                <a:tab pos="292100" algn="l"/>
              </a:tabLst>
              <a:defRPr>
                <a:solidFill>
                  <a:schemeClr val="tx1"/>
                </a:solidFill>
                <a:latin typeface="Arial" panose="020B0604020202020204" pitchFamily="34" charset="0"/>
              </a:defRPr>
            </a:lvl3pPr>
            <a:lvl4pPr eaLnBrk="0" fontAlgn="base" hangingPunct="0">
              <a:spcBef>
                <a:spcPct val="0"/>
              </a:spcBef>
              <a:spcAft>
                <a:spcPct val="0"/>
              </a:spcAft>
              <a:tabLst>
                <a:tab pos="292100" algn="l"/>
              </a:tabLst>
              <a:defRPr>
                <a:solidFill>
                  <a:schemeClr val="tx1"/>
                </a:solidFill>
                <a:latin typeface="Arial" panose="020B0604020202020204" pitchFamily="34" charset="0"/>
              </a:defRPr>
            </a:lvl4pPr>
            <a:lvl5pPr eaLnBrk="0" fontAlgn="base" hangingPunct="0">
              <a:spcBef>
                <a:spcPct val="0"/>
              </a:spcBef>
              <a:spcAft>
                <a:spcPct val="0"/>
              </a:spcAft>
              <a:tabLst>
                <a:tab pos="292100" algn="l"/>
              </a:tabLst>
              <a:defRPr>
                <a:solidFill>
                  <a:schemeClr val="tx1"/>
                </a:solidFill>
                <a:latin typeface="Arial" panose="020B0604020202020204" pitchFamily="34" charset="0"/>
              </a:defRPr>
            </a:lvl5pPr>
            <a:lvl6pPr eaLnBrk="0" fontAlgn="base" hangingPunct="0">
              <a:spcBef>
                <a:spcPct val="0"/>
              </a:spcBef>
              <a:spcAft>
                <a:spcPct val="0"/>
              </a:spcAft>
              <a:tabLst>
                <a:tab pos="292100" algn="l"/>
              </a:tabLst>
              <a:defRPr>
                <a:solidFill>
                  <a:schemeClr val="tx1"/>
                </a:solidFill>
                <a:latin typeface="Arial" panose="020B0604020202020204" pitchFamily="34" charset="0"/>
              </a:defRPr>
            </a:lvl6pPr>
            <a:lvl7pPr eaLnBrk="0" fontAlgn="base" hangingPunct="0">
              <a:spcBef>
                <a:spcPct val="0"/>
              </a:spcBef>
              <a:spcAft>
                <a:spcPct val="0"/>
              </a:spcAft>
              <a:tabLst>
                <a:tab pos="292100" algn="l"/>
              </a:tabLst>
              <a:defRPr>
                <a:solidFill>
                  <a:schemeClr val="tx1"/>
                </a:solidFill>
                <a:latin typeface="Arial" panose="020B0604020202020204" pitchFamily="34" charset="0"/>
              </a:defRPr>
            </a:lvl7pPr>
            <a:lvl8pPr eaLnBrk="0" fontAlgn="base" hangingPunct="0">
              <a:spcBef>
                <a:spcPct val="0"/>
              </a:spcBef>
              <a:spcAft>
                <a:spcPct val="0"/>
              </a:spcAft>
              <a:tabLst>
                <a:tab pos="292100" algn="l"/>
              </a:tabLst>
              <a:defRPr>
                <a:solidFill>
                  <a:schemeClr val="tx1"/>
                </a:solidFill>
                <a:latin typeface="Arial" panose="020B0604020202020204" pitchFamily="34" charset="0"/>
              </a:defRPr>
            </a:lvl8pPr>
            <a:lvl9pPr eaLnBrk="0" fontAlgn="base" hangingPunct="0">
              <a:spcBef>
                <a:spcPct val="0"/>
              </a:spcBef>
              <a:spcAft>
                <a:spcPct val="0"/>
              </a:spcAft>
              <a:tabLst>
                <a:tab pos="292100" algn="l"/>
              </a:tabLst>
              <a:defRPr>
                <a:solidFill>
                  <a:schemeClr val="tx1"/>
                </a:solidFill>
                <a:latin typeface="Arial" panose="020B0604020202020204" pitchFamily="34" charset="0"/>
              </a:defRPr>
            </a:lvl9pPr>
          </a:lstStyle>
          <a:p>
            <a:pPr marL="457200" marR="0" lvl="1" indent="0" algn="l" defTabSz="914400" rtl="0" eaLnBrk="0" fontAlgn="base" latinLnBrk="0" hangingPunct="0">
              <a:lnSpc>
                <a:spcPct val="100000"/>
              </a:lnSpc>
              <a:spcBef>
                <a:spcPct val="0"/>
              </a:spcBef>
              <a:spcAft>
                <a:spcPct val="0"/>
              </a:spcAft>
              <a:buClrTx/>
              <a:buSzTx/>
              <a:buFontTx/>
              <a:buAutoNum type="arabicPeriod"/>
              <a:tabLst>
                <a:tab pos="292100" algn="l"/>
              </a:tabLst>
            </a:pPr>
            <a:r>
              <a:rPr kumimoji="0" lang="en-GB" altLang="en-US" sz="900" b="1" i="0" u="none" strike="noStrike" cap="none" normalizeH="0" baseline="0" dirty="0">
                <a:ln>
                  <a:noFill/>
                </a:ln>
                <a:solidFill>
                  <a:schemeClr val="tx1"/>
                </a:solidFill>
                <a:effectLst/>
                <a:latin typeface="Tahoma" panose="020B0604030504040204" pitchFamily="34" charset="0"/>
                <a:cs typeface="Times New Roman" panose="02020603050405020304" pitchFamily="18" charset="0"/>
              </a:rPr>
              <a:t>STEP THREE – Minimum Threshold 80 points for Technical Criteria</a:t>
            </a:r>
            <a:endParaRPr kumimoji="0" lang="en-GB" altLang="en-US" sz="900" b="0" i="0" u="none" strike="noStrike" cap="none" normalizeH="0" baseline="0" dirty="0">
              <a:ln>
                <a:noFill/>
              </a:ln>
              <a:solidFill>
                <a:schemeClr val="tx1"/>
              </a:solidFill>
              <a:effectLst/>
              <a:latin typeface="Tahoma" panose="020B060403050404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292100" algn="l"/>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graphicFrame>
        <p:nvGraphicFramePr>
          <p:cNvPr id="10" name="Table 9">
            <a:extLst>
              <a:ext uri="{FF2B5EF4-FFF2-40B4-BE49-F238E27FC236}">
                <a16:creationId xmlns:a16="http://schemas.microsoft.com/office/drawing/2014/main" id="{047ECC42-D9F2-F887-311F-739157D38822}"/>
              </a:ext>
            </a:extLst>
          </p:cNvPr>
          <p:cNvGraphicFramePr>
            <a:graphicFrameLocks noGrp="1"/>
          </p:cNvGraphicFramePr>
          <p:nvPr>
            <p:extLst>
              <p:ext uri="{D42A27DB-BD31-4B8C-83A1-F6EECF244321}">
                <p14:modId xmlns:p14="http://schemas.microsoft.com/office/powerpoint/2010/main" val="3335297060"/>
              </p:ext>
            </p:extLst>
          </p:nvPr>
        </p:nvGraphicFramePr>
        <p:xfrm>
          <a:off x="442912" y="1363512"/>
          <a:ext cx="11063288" cy="5468679"/>
        </p:xfrm>
        <a:graphic>
          <a:graphicData uri="http://schemas.openxmlformats.org/drawingml/2006/table">
            <a:tbl>
              <a:tblPr firstRow="1" bandRow="1">
                <a:tableStyleId>{5940675A-B579-460E-94D1-54222C63F5DA}</a:tableStyleId>
              </a:tblPr>
              <a:tblGrid>
                <a:gridCol w="8853488">
                  <a:extLst>
                    <a:ext uri="{9D8B030D-6E8A-4147-A177-3AD203B41FA5}">
                      <a16:colId xmlns:a16="http://schemas.microsoft.com/office/drawing/2014/main" val="3459152169"/>
                    </a:ext>
                  </a:extLst>
                </a:gridCol>
                <a:gridCol w="1150380">
                  <a:extLst>
                    <a:ext uri="{9D8B030D-6E8A-4147-A177-3AD203B41FA5}">
                      <a16:colId xmlns:a16="http://schemas.microsoft.com/office/drawing/2014/main" val="2716248279"/>
                    </a:ext>
                  </a:extLst>
                </a:gridCol>
                <a:gridCol w="1059420">
                  <a:extLst>
                    <a:ext uri="{9D8B030D-6E8A-4147-A177-3AD203B41FA5}">
                      <a16:colId xmlns:a16="http://schemas.microsoft.com/office/drawing/2014/main" val="2632388447"/>
                    </a:ext>
                  </a:extLst>
                </a:gridCol>
              </a:tblGrid>
              <a:tr h="329289">
                <a:tc>
                  <a:txBody>
                    <a:bodyPr/>
                    <a:lstStyle/>
                    <a:p>
                      <a:r>
                        <a:rPr lang="en-ZA" sz="1050" b="1" dirty="0"/>
                        <a:t>Technical Evaluation Criteria </a:t>
                      </a:r>
                      <a:endParaRPr lang="en-US" sz="1050" b="1" dirty="0"/>
                    </a:p>
                  </a:txBody>
                  <a:tcPr anchor="ctr"/>
                </a:tc>
                <a:tc>
                  <a:txBody>
                    <a:bodyPr/>
                    <a:lstStyle/>
                    <a:p>
                      <a:r>
                        <a:rPr lang="en-ZA" sz="1050" b="1" dirty="0"/>
                        <a:t>Reference</a:t>
                      </a:r>
                      <a:endParaRPr lang="en-US" sz="1050" b="1" dirty="0"/>
                    </a:p>
                  </a:txBody>
                  <a:tcPr anchor="ctr"/>
                </a:tc>
                <a:tc>
                  <a:txBody>
                    <a:bodyPr/>
                    <a:lstStyle/>
                    <a:p>
                      <a:r>
                        <a:rPr lang="en-ZA" sz="1050" b="1" dirty="0"/>
                        <a:t>Maximum Points </a:t>
                      </a:r>
                      <a:endParaRPr lang="en-US" sz="1050" b="1" dirty="0"/>
                    </a:p>
                  </a:txBody>
                  <a:tcPr/>
                </a:tc>
                <a:extLst>
                  <a:ext uri="{0D108BD9-81ED-4DB2-BD59-A6C34878D82A}">
                    <a16:rowId xmlns:a16="http://schemas.microsoft.com/office/drawing/2014/main" val="2546785535"/>
                  </a:ext>
                </a:extLst>
              </a:tr>
              <a:tr h="1864620">
                <a:tc>
                  <a:txBody>
                    <a:bodyPr/>
                    <a:lstStyle/>
                    <a:p>
                      <a:pPr marL="0" marR="0" algn="just">
                        <a:lnSpc>
                          <a:spcPct val="150000"/>
                        </a:lnSpc>
                        <a:spcBef>
                          <a:spcPts val="300"/>
                        </a:spcBef>
                        <a:spcAft>
                          <a:spcPts val="0"/>
                        </a:spcAft>
                        <a:tabLst>
                          <a:tab pos="291465" algn="l"/>
                        </a:tabLst>
                      </a:pPr>
                      <a:r>
                        <a:rPr lang="en-GB" sz="900" b="1" dirty="0">
                          <a:effectLst/>
                          <a:latin typeface="Tahoma" panose="020B0604030504040204" pitchFamily="34" charset="0"/>
                          <a:ea typeface="Times New Roman" panose="02020603050405020304" pitchFamily="18" charset="0"/>
                          <a:cs typeface="Tahoma" panose="020B0604030504040204" pitchFamily="34" charset="0"/>
                        </a:rPr>
                        <a:t>Bidder`s Experience in employee wellness programmes</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Bidders must provide signed client reference letters on official client letterhead, demonstrating their experience in running employee wellness programme over the past 5 years. Each reference letter should include the client's name, contact numbers, email address, a description of the work done, and the duration of the contract. The bidder must have done work in a large entity with employees from 10 000 or more employees. The bidder needs to submit 1 to 5 reference letters.</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223520" algn="just">
                        <a:lnSpc>
                          <a:spcPct val="115000"/>
                        </a:lnSpc>
                        <a:spcBef>
                          <a:spcPts val="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106045" lvl="0" indent="-342900" algn="just">
                        <a:lnSpc>
                          <a:spcPct val="115000"/>
                        </a:lnSpc>
                        <a:spcBef>
                          <a:spcPts val="0"/>
                        </a:spcBef>
                        <a:spcAft>
                          <a:spcPts val="0"/>
                        </a:spcAft>
                        <a:buFont typeface="Times New Roman" panose="02020603050405020304" pitchFamily="18" charset="0"/>
                        <a:buChar char="-"/>
                      </a:pPr>
                      <a:r>
                        <a:rPr lang="en-US" sz="900" dirty="0">
                          <a:effectLst/>
                          <a:latin typeface="Tahoma" panose="020B0604030504040204" pitchFamily="34" charset="0"/>
                          <a:ea typeface="Tahoma" panose="020B0604030504040204" pitchFamily="34" charset="0"/>
                          <a:cs typeface="Tahoma" panose="020B0604030504040204" pitchFamily="34" charset="0"/>
                        </a:rPr>
                        <a:t>No experience with large entity employee wellness programme</a:t>
                      </a:r>
                      <a:r>
                        <a:rPr lang="en-US" sz="9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900" dirty="0">
                          <a:effectLst/>
                          <a:latin typeface="Tahoma" panose="020B0604030504040204" pitchFamily="34" charset="0"/>
                          <a:ea typeface="Times New Roman" panose="02020603050405020304" pitchFamily="18" charset="0"/>
                          <a:cs typeface="Tahoma" panose="020B0604030504040204" pitchFamily="34" charset="0"/>
                        </a:rPr>
                        <a:t>submitted</a:t>
                      </a:r>
                      <a:r>
                        <a:rPr lang="en-GB" sz="900" b="1" dirty="0">
                          <a:effectLst/>
                          <a:latin typeface="Tahoma" panose="020B0604030504040204" pitchFamily="34" charset="0"/>
                          <a:ea typeface="Times New Roman" panose="02020603050405020304" pitchFamily="18"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1-2 years’ experience in a large entity conducting employee wellness programme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3-4 years’ experience in a large entity conducting employee wellness programme </a:t>
                      </a:r>
                      <a:r>
                        <a:rPr lang="en-ZA" sz="900" b="1" dirty="0">
                          <a:effectLst/>
                          <a:latin typeface="Tahoma" panose="020B0604030504040204" pitchFamily="34" charset="0"/>
                          <a:ea typeface="Tahoma" panose="020B0604030504040204" pitchFamily="34" charset="0"/>
                          <a:cs typeface="Tahoma" panose="020B0604030504040204" pitchFamily="34" charset="0"/>
                        </a:rPr>
                        <a:t>[1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171450" marR="0" indent="-171450" algn="just">
                        <a:lnSpc>
                          <a:spcPct val="150000"/>
                        </a:lnSpc>
                        <a:spcBef>
                          <a:spcPts val="300"/>
                        </a:spcBef>
                        <a:spcAft>
                          <a:spcPts val="0"/>
                        </a:spcAft>
                        <a:buFontTx/>
                        <a:buChar char="-"/>
                        <a:tabLst>
                          <a:tab pos="291465" algn="l"/>
                        </a:tabLst>
                      </a:pPr>
                      <a:r>
                        <a:rPr lang="en-ZA" sz="900" dirty="0">
                          <a:effectLst/>
                          <a:latin typeface="Tahoma" panose="020B0604030504040204" pitchFamily="34" charset="0"/>
                          <a:ea typeface="Tahoma" panose="020B0604030504040204" pitchFamily="34" charset="0"/>
                          <a:cs typeface="Tahoma" panose="020B0604030504040204" pitchFamily="34" charset="0"/>
                        </a:rPr>
                        <a:t>     5 or more years’ experience in a large entity conducting employee wellness programme </a:t>
                      </a:r>
                      <a:r>
                        <a:rPr lang="en-ZA" sz="900" b="1" dirty="0">
                          <a:effectLst/>
                          <a:latin typeface="Tahoma" panose="020B0604030504040204" pitchFamily="34" charset="0"/>
                          <a:ea typeface="Tahoma" panose="020B0604030504040204" pitchFamily="34" charset="0"/>
                          <a:cs typeface="Tahoma" panose="020B0604030504040204" pitchFamily="34" charset="0"/>
                        </a:rPr>
                        <a:t>[15]</a:t>
                      </a:r>
                    </a:p>
                  </a:txBody>
                  <a:tcPr marL="68580" marR="68580" marT="0" marB="0"/>
                </a:tc>
                <a:tc>
                  <a:txBody>
                    <a:bodyPr/>
                    <a:lstStyle/>
                    <a:p>
                      <a:r>
                        <a:rPr lang="en-GB" sz="1100" b="1" dirty="0">
                          <a:effectLst/>
                          <a:latin typeface="Tahoma" panose="020B0604030504040204" pitchFamily="34" charset="0"/>
                          <a:ea typeface="Times New Roman" panose="02020603050405020304" pitchFamily="18" charset="0"/>
                        </a:rPr>
                        <a:t>Annexure I</a:t>
                      </a:r>
                      <a:endParaRPr lang="en-US" sz="1100" dirty="0"/>
                    </a:p>
                  </a:txBody>
                  <a:tcPr anchor="ctr"/>
                </a:tc>
                <a:tc>
                  <a:txBody>
                    <a:bodyPr/>
                    <a:lstStyle/>
                    <a:p>
                      <a:r>
                        <a:rPr lang="en-ZA" sz="1050" b="1" dirty="0"/>
                        <a:t>10</a:t>
                      </a:r>
                      <a:endParaRPr lang="en-US" sz="1050" b="1" dirty="0"/>
                    </a:p>
                  </a:txBody>
                  <a:tcPr anchor="ctr"/>
                </a:tc>
                <a:extLst>
                  <a:ext uri="{0D108BD9-81ED-4DB2-BD59-A6C34878D82A}">
                    <a16:rowId xmlns:a16="http://schemas.microsoft.com/office/drawing/2014/main" val="626048179"/>
                  </a:ext>
                </a:extLst>
              </a:tr>
              <a:tr h="3192579">
                <a:tc>
                  <a:txBody>
                    <a:bodyPr/>
                    <a:lstStyle/>
                    <a:p>
                      <a:pPr marL="0" marR="0" algn="just">
                        <a:lnSpc>
                          <a:spcPct val="150000"/>
                        </a:lnSpc>
                        <a:spcBef>
                          <a:spcPts val="300"/>
                        </a:spcBef>
                        <a:spcAft>
                          <a:spcPts val="0"/>
                        </a:spcAft>
                        <a:tabLst>
                          <a:tab pos="291465" algn="l"/>
                        </a:tabLst>
                      </a:pPr>
                      <a:r>
                        <a:rPr lang="en-GB"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Key Personnel Previous Experience</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223520" algn="just">
                        <a:lnSpc>
                          <a:spcPct val="115000"/>
                        </a:lnSpc>
                        <a:spcBef>
                          <a:spcPts val="300"/>
                        </a:spcBef>
                        <a:spcAft>
                          <a:spcPts val="0"/>
                        </a:spcAft>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Bidder to provide a CV as per the CV template showing capacity experience of the key resources. Highlighting the experience in employee wellness programme:. </a:t>
                      </a:r>
                      <a:endParaRPr lang="en-US"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algn="just">
                        <a:lnSpc>
                          <a:spcPct val="150000"/>
                        </a:lnSpc>
                        <a:spcBef>
                          <a:spcPts val="300"/>
                        </a:spcBef>
                        <a:spcAft>
                          <a:spcPts val="0"/>
                        </a:spcAft>
                      </a:pPr>
                      <a:r>
                        <a:rPr lang="en-GB"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Bidder to provide an organogram of the supporting team which will be handling the Transnet account showing the capacity and experience of each team member. Bidders to submit CVs with relevant. </a:t>
                      </a:r>
                      <a:endParaRPr lang="en-US"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algn="just">
                        <a:lnSpc>
                          <a:spcPct val="150000"/>
                        </a:lnSpc>
                        <a:spcBef>
                          <a:spcPts val="300"/>
                        </a:spcBef>
                        <a:spcAft>
                          <a:spcPts val="0"/>
                        </a:spcAft>
                      </a:pPr>
                      <a:r>
                        <a:rPr lang="en-GB"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Qualifications &amp; Experience</a:t>
                      </a:r>
                      <a:endParaRPr lang="en-US"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algn="just">
                        <a:lnSpc>
                          <a:spcPct val="150000"/>
                        </a:lnSpc>
                        <a:spcBef>
                          <a:spcPts val="300"/>
                        </a:spcBef>
                        <a:spcAft>
                          <a:spcPts val="0"/>
                        </a:spcAft>
                      </a:pPr>
                      <a:r>
                        <a:rPr lang="en-GB"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Key Account Manager [5]</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No experience submitted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0]</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7 qualifications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2] </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3] </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0" lvl="0" indent="-342900" algn="just">
                        <a:lnSpc>
                          <a:spcPct val="150000"/>
                        </a:lnSpc>
                        <a:spcBef>
                          <a:spcPts val="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9 or more years of employee wellness programme experience with relevant NQF 7 qualifications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5]</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algn="just">
                        <a:lnSpc>
                          <a:spcPct val="150000"/>
                        </a:lnSpc>
                        <a:spcBef>
                          <a:spcPts val="300"/>
                        </a:spcBef>
                        <a:spcAft>
                          <a:spcPts val="0"/>
                        </a:spcAft>
                      </a:pPr>
                      <a:r>
                        <a:rPr lang="en-GB"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Case Manager [5]</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No experience submitted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0]</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7 qualifications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2] </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3] </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342900" marR="223520" lvl="0" indent="-342900" algn="just" defTabSz="779173" rtl="0" eaLnBrk="1" latinLnBrk="0" hangingPunct="1">
                        <a:lnSpc>
                          <a:spcPct val="115000"/>
                        </a:lnSpc>
                        <a:spcBef>
                          <a:spcPts val="0"/>
                        </a:spcBef>
                        <a:spcAft>
                          <a:spcPts val="0"/>
                        </a:spcAft>
                        <a:buFont typeface="Times New Roman" panose="02020603050405020304" pitchFamily="18" charset="0"/>
                        <a:buChar char="-"/>
                      </a:pPr>
                      <a:r>
                        <a:rPr lang="en-ZA" sz="9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9 or more years of employee wellness programme experience with relevant NQF 7 qualifications </a:t>
                      </a:r>
                      <a:r>
                        <a:rPr lang="en-ZA"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5]</a:t>
                      </a:r>
                      <a:endParaRPr lang="en-US" sz="9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Annexure J</a:t>
                      </a:r>
                      <a:endParaRPr lang="en-US" sz="1100" b="1" kern="1200" dirty="0">
                        <a:solidFill>
                          <a:schemeClr val="tx1"/>
                        </a:solidFill>
                        <a:effectLst/>
                        <a:latin typeface="Tahoma" panose="020B0604030504040204" pitchFamily="34" charset="0"/>
                        <a:cs typeface="+mn-cs"/>
                      </a:endParaRPr>
                    </a:p>
                  </a:txBody>
                  <a:tcPr anchor="ct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40</a:t>
                      </a:r>
                      <a:endParaRPr lang="en-US" sz="1100" b="1" kern="1200" dirty="0">
                        <a:solidFill>
                          <a:schemeClr val="tx1"/>
                        </a:solidFill>
                        <a:effectLst/>
                        <a:latin typeface="Tahoma" panose="020B0604030504040204" pitchFamily="34" charset="0"/>
                        <a:cs typeface="+mn-cs"/>
                      </a:endParaRPr>
                    </a:p>
                  </a:txBody>
                  <a:tcPr anchor="ctr"/>
                </a:tc>
                <a:extLst>
                  <a:ext uri="{0D108BD9-81ED-4DB2-BD59-A6C34878D82A}">
                    <a16:rowId xmlns:a16="http://schemas.microsoft.com/office/drawing/2014/main" val="2905333653"/>
                  </a:ext>
                </a:extLst>
              </a:tr>
            </a:tbl>
          </a:graphicData>
        </a:graphic>
      </p:graphicFrame>
    </p:spTree>
    <p:extLst>
      <p:ext uri="{BB962C8B-B14F-4D97-AF65-F5344CB8AC3E}">
        <p14:creationId xmlns:p14="http://schemas.microsoft.com/office/powerpoint/2010/main" val="3449140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3">
            <a:extLst>
              <a:ext uri="{FF2B5EF4-FFF2-40B4-BE49-F238E27FC236}">
                <a16:creationId xmlns:a16="http://schemas.microsoft.com/office/drawing/2014/main" id="{CE959F53-6AD9-93C2-4F2E-B43D5E249769}"/>
              </a:ext>
            </a:extLst>
          </p:cNvPr>
          <p:cNvSpPr txBox="1">
            <a:spLocks/>
          </p:cNvSpPr>
          <p:nvPr/>
        </p:nvSpPr>
        <p:spPr>
          <a:xfrm>
            <a:off x="578004" y="849085"/>
            <a:ext cx="9490664" cy="5075854"/>
          </a:xfrm>
          <a:prstGeom prst="rect">
            <a:avLst/>
          </a:prstGeom>
        </p:spPr>
        <p:txBody>
          <a:bodyPr vert="horz" lIns="36000" tIns="18000" rIns="0" bIns="18000" rtlCol="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fontAlgn="base">
              <a:spcBef>
                <a:spcPct val="0"/>
              </a:spcBef>
              <a:spcAft>
                <a:spcPct val="0"/>
              </a:spcAft>
            </a:pPr>
            <a:r>
              <a:rPr lang="en-ZA" sz="2000" b="1" dirty="0">
                <a:solidFill>
                  <a:srgbClr val="C00000"/>
                </a:solidFill>
                <a:latin typeface="Tahoma" pitchFamily="34" charset="0"/>
                <a:cs typeface="Arial" charset="0"/>
              </a:rPr>
              <a:t>TECHNICAL: </a:t>
            </a:r>
          </a:p>
          <a:p>
            <a:pPr fontAlgn="base">
              <a:spcBef>
                <a:spcPct val="0"/>
              </a:spcBef>
              <a:spcAft>
                <a:spcPct val="0"/>
              </a:spcAft>
            </a:pPr>
            <a:r>
              <a:rPr lang="en-ZA" sz="1600" dirty="0">
                <a:solidFill>
                  <a:prstClr val="black"/>
                </a:solidFill>
                <a:latin typeface="Tahoma" pitchFamily="34" charset="0"/>
                <a:cs typeface="Arial" charset="0"/>
              </a:rPr>
              <a:t> </a:t>
            </a:r>
            <a:endParaRPr lang="en-ZA" dirty="0">
              <a:solidFill>
                <a:schemeClr val="tx1"/>
              </a:solidFill>
              <a:latin typeface="Tahoma" pitchFamily="34" charset="0"/>
              <a:cs typeface="Arial" charset="0"/>
            </a:endParaRPr>
          </a:p>
        </p:txBody>
      </p:sp>
      <p:sp>
        <p:nvSpPr>
          <p:cNvPr id="7" name="Title 6">
            <a:extLst>
              <a:ext uri="{FF2B5EF4-FFF2-40B4-BE49-F238E27FC236}">
                <a16:creationId xmlns:a16="http://schemas.microsoft.com/office/drawing/2014/main" id="{04D55ABC-2B80-AE3D-0F0E-8A6572C5E559}"/>
              </a:ext>
            </a:extLst>
          </p:cNvPr>
          <p:cNvSpPr>
            <a:spLocks noGrp="1"/>
          </p:cNvSpPr>
          <p:nvPr>
            <p:ph type="title"/>
          </p:nvPr>
        </p:nvSpPr>
        <p:spPr/>
        <p:txBody>
          <a:bodyPr/>
          <a:lstStyle/>
          <a:p>
            <a:r>
              <a:rPr lang="en-ZA" dirty="0"/>
              <a:t> </a:t>
            </a:r>
          </a:p>
        </p:txBody>
      </p:sp>
      <p:sp>
        <p:nvSpPr>
          <p:cNvPr id="8" name="Title 25">
            <a:extLst>
              <a:ext uri="{FF2B5EF4-FFF2-40B4-BE49-F238E27FC236}">
                <a16:creationId xmlns:a16="http://schemas.microsoft.com/office/drawing/2014/main" id="{A2899E89-48B8-9B3A-7BE8-3DE6462C3E5E}"/>
              </a:ext>
            </a:extLst>
          </p:cNvPr>
          <p:cNvSpPr txBox="1">
            <a:spLocks/>
          </p:cNvSpPr>
          <p:nvPr/>
        </p:nvSpPr>
        <p:spPr>
          <a:xfrm>
            <a:off x="288000" y="108000"/>
            <a:ext cx="10079725" cy="738664"/>
          </a:xfr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t>PROCUREMENT PROCESS </a:t>
            </a:r>
            <a:br>
              <a:rPr lang="en-US" dirty="0"/>
            </a:br>
            <a:r>
              <a:rPr lang="en-US" sz="1800" b="0" dirty="0">
                <a:solidFill>
                  <a:schemeClr val="bg1">
                    <a:lumMod val="50000"/>
                  </a:schemeClr>
                </a:solidFill>
              </a:rPr>
              <a:t>Evaluation Methodology (</a:t>
            </a:r>
            <a:r>
              <a:rPr lang="en-US" sz="1800" b="0" dirty="0" err="1">
                <a:solidFill>
                  <a:schemeClr val="bg1">
                    <a:lumMod val="50000"/>
                  </a:schemeClr>
                </a:solidFill>
              </a:rPr>
              <a:t>cont</a:t>
            </a:r>
            <a:r>
              <a:rPr lang="en-US" sz="1800" b="0" dirty="0">
                <a:solidFill>
                  <a:schemeClr val="bg1">
                    <a:lumMod val="50000"/>
                  </a:schemeClr>
                </a:solidFill>
              </a:rPr>
              <a:t>)</a:t>
            </a:r>
            <a:endParaRPr lang="en-US" b="0" dirty="0">
              <a:solidFill>
                <a:schemeClr val="bg1">
                  <a:lumMod val="50000"/>
                </a:schemeClr>
              </a:solidFill>
            </a:endParaRPr>
          </a:p>
        </p:txBody>
      </p:sp>
      <p:graphicFrame>
        <p:nvGraphicFramePr>
          <p:cNvPr id="6" name="Table 5">
            <a:extLst>
              <a:ext uri="{FF2B5EF4-FFF2-40B4-BE49-F238E27FC236}">
                <a16:creationId xmlns:a16="http://schemas.microsoft.com/office/drawing/2014/main" id="{C792BDA6-14A7-77A0-2200-DDEE218FF8E8}"/>
              </a:ext>
            </a:extLst>
          </p:cNvPr>
          <p:cNvGraphicFramePr>
            <a:graphicFrameLocks noGrp="1"/>
          </p:cNvGraphicFramePr>
          <p:nvPr>
            <p:extLst>
              <p:ext uri="{D42A27DB-BD31-4B8C-83A1-F6EECF244321}">
                <p14:modId xmlns:p14="http://schemas.microsoft.com/office/powerpoint/2010/main" val="1401693908"/>
              </p:ext>
            </p:extLst>
          </p:nvPr>
        </p:nvGraphicFramePr>
        <p:xfrm>
          <a:off x="428625" y="1172082"/>
          <a:ext cx="10629900" cy="5577917"/>
        </p:xfrm>
        <a:graphic>
          <a:graphicData uri="http://schemas.openxmlformats.org/drawingml/2006/table">
            <a:tbl>
              <a:tblPr firstRow="1" firstCol="1" lastRow="1" lastCol="1" bandRow="1" bandCol="1"/>
              <a:tblGrid>
                <a:gridCol w="8494913">
                  <a:extLst>
                    <a:ext uri="{9D8B030D-6E8A-4147-A177-3AD203B41FA5}">
                      <a16:colId xmlns:a16="http://schemas.microsoft.com/office/drawing/2014/main" val="1875437710"/>
                    </a:ext>
                  </a:extLst>
                </a:gridCol>
                <a:gridCol w="1158773">
                  <a:extLst>
                    <a:ext uri="{9D8B030D-6E8A-4147-A177-3AD203B41FA5}">
                      <a16:colId xmlns:a16="http://schemas.microsoft.com/office/drawing/2014/main" val="1712856072"/>
                    </a:ext>
                  </a:extLst>
                </a:gridCol>
                <a:gridCol w="976214">
                  <a:extLst>
                    <a:ext uri="{9D8B030D-6E8A-4147-A177-3AD203B41FA5}">
                      <a16:colId xmlns:a16="http://schemas.microsoft.com/office/drawing/2014/main" val="2638712869"/>
                    </a:ext>
                  </a:extLst>
                </a:gridCol>
              </a:tblGrid>
              <a:tr h="5577917">
                <a:tc>
                  <a:txBody>
                    <a:bodyPr/>
                    <a:lstStyle/>
                    <a:p>
                      <a:pPr marL="0" marR="0" algn="just">
                        <a:lnSpc>
                          <a:spcPct val="150000"/>
                        </a:lnSpc>
                        <a:spcBef>
                          <a:spcPts val="300"/>
                        </a:spcBef>
                        <a:spcAft>
                          <a:spcPts val="0"/>
                        </a:spcAft>
                      </a:pPr>
                      <a:r>
                        <a:rPr lang="en-GB" sz="900" b="1" dirty="0">
                          <a:effectLst/>
                          <a:latin typeface="Tahoma" panose="020B0604030504040204" pitchFamily="34" charset="0"/>
                          <a:ea typeface="Times New Roman" panose="02020603050405020304" pitchFamily="18" charset="0"/>
                          <a:cs typeface="Tahoma" panose="020B0604030504040204" pitchFamily="34" charset="0"/>
                        </a:rPr>
                        <a:t>Specialist Business Intelligence or Data Analyst [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Less than 1 year experience submitted </a:t>
                      </a:r>
                      <a:r>
                        <a:rPr lang="en-ZA" sz="900" b="1" dirty="0">
                          <a:effectLst/>
                          <a:latin typeface="Tahoma" panose="020B0604030504040204" pitchFamily="34" charset="0"/>
                          <a:ea typeface="Tahoma" panose="020B0604030504040204" pitchFamily="34" charset="0"/>
                          <a:cs typeface="Tahoma" panose="020B0604030504040204" pitchFamily="34" charset="0"/>
                        </a:rPr>
                        <a:t>[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2]</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3]</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9 or more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pPr>
                      <a:r>
                        <a:rPr lang="en-GB" sz="900" b="1" dirty="0">
                          <a:effectLst/>
                          <a:latin typeface="Tahoma" panose="020B0604030504040204" pitchFamily="34" charset="0"/>
                          <a:ea typeface="Times New Roman" panose="02020603050405020304" pitchFamily="18" charset="0"/>
                          <a:cs typeface="Tahoma" panose="020B0604030504040204" pitchFamily="34" charset="0"/>
                        </a:rPr>
                        <a:t>Organisational Health Specialists [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No experience submitted </a:t>
                      </a:r>
                      <a:r>
                        <a:rPr lang="en-ZA" sz="900" b="1" dirty="0">
                          <a:effectLst/>
                          <a:latin typeface="Tahoma" panose="020B0604030504040204" pitchFamily="34" charset="0"/>
                          <a:ea typeface="Tahoma" panose="020B0604030504040204" pitchFamily="34" charset="0"/>
                          <a:cs typeface="Tahoma" panose="020B0604030504040204" pitchFamily="34" charset="0"/>
                        </a:rPr>
                        <a:t>[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6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2]</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3]</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9 or more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pPr>
                      <a:r>
                        <a:rPr lang="en-GB" sz="900" b="1" dirty="0">
                          <a:effectLst/>
                          <a:latin typeface="Tahoma" panose="020B0604030504040204" pitchFamily="34" charset="0"/>
                          <a:ea typeface="Times New Roman" panose="02020603050405020304" pitchFamily="18" charset="0"/>
                          <a:cs typeface="Tahoma" panose="020B0604030504040204" pitchFamily="34" charset="0"/>
                        </a:rPr>
                        <a:t>Financial Advisor Specialist [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No experience submitted </a:t>
                      </a:r>
                      <a:r>
                        <a:rPr lang="en-ZA" sz="900" b="1" dirty="0">
                          <a:effectLst/>
                          <a:latin typeface="Tahoma" panose="020B0604030504040204" pitchFamily="34" charset="0"/>
                          <a:ea typeface="Tahoma" panose="020B0604030504040204" pitchFamily="34" charset="0"/>
                          <a:cs typeface="Tahoma" panose="020B0604030504040204" pitchFamily="34" charset="0"/>
                        </a:rPr>
                        <a:t>[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2]</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3]</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9 or more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a:t>
                      </a:r>
                      <a:r>
                        <a:rPr lang="en-ZA" sz="900" b="1">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pPr>
                      <a:r>
                        <a:rPr lang="en-GB" sz="900" b="1" dirty="0">
                          <a:effectLst/>
                          <a:latin typeface="Tahoma" panose="020B0604030504040204" pitchFamily="34" charset="0"/>
                          <a:ea typeface="Times New Roman" panose="02020603050405020304" pitchFamily="18" charset="0"/>
                          <a:cs typeface="Tahoma" panose="020B0604030504040204" pitchFamily="34" charset="0"/>
                        </a:rPr>
                        <a:t>Legal Advisor Specialist [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No experience submitted </a:t>
                      </a:r>
                      <a:r>
                        <a:rPr lang="en-ZA" sz="900" b="1" dirty="0">
                          <a:effectLst/>
                          <a:latin typeface="Tahoma" panose="020B0604030504040204" pitchFamily="34" charset="0"/>
                          <a:ea typeface="Tahoma" panose="020B0604030504040204" pitchFamily="34" charset="0"/>
                          <a:cs typeface="Tahoma" panose="020B0604030504040204" pitchFamily="34" charset="0"/>
                        </a:rPr>
                        <a:t>[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2]</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3]</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9 or more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pPr>
                      <a:r>
                        <a:rPr lang="en-GB" sz="900" b="1" dirty="0">
                          <a:effectLst/>
                          <a:latin typeface="Tahoma" panose="020B0604030504040204" pitchFamily="34" charset="0"/>
                          <a:ea typeface="Times New Roman" panose="02020603050405020304" pitchFamily="18" charset="0"/>
                          <a:cs typeface="Tahoma" panose="020B0604030504040204" pitchFamily="34" charset="0"/>
                        </a:rPr>
                        <a:t>Call Centre Professionals [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pPr>
                      <a:r>
                        <a:rPr lang="en-GB" sz="900" dirty="0">
                          <a:effectLst/>
                          <a:latin typeface="Tahoma" panose="020B0604030504040204" pitchFamily="34" charset="0"/>
                          <a:ea typeface="Times New Roman" panose="02020603050405020304" pitchFamily="18" charset="0"/>
                          <a:cs typeface="Tahoma" panose="020B0604030504040204" pitchFamily="34" charset="0"/>
                        </a:rPr>
                        <a:t>Bidder to provide an organogram of the call centre team showing the capacity and experience of each team member:</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No experience submitted </a:t>
                      </a:r>
                      <a:r>
                        <a:rPr lang="en-ZA" sz="900" b="1" dirty="0">
                          <a:effectLst/>
                          <a:latin typeface="Tahoma" panose="020B0604030504040204" pitchFamily="34" charset="0"/>
                          <a:ea typeface="Tahoma" panose="020B0604030504040204" pitchFamily="34" charset="0"/>
                          <a:cs typeface="Tahoma" panose="020B0604030504040204" pitchFamily="34" charset="0"/>
                        </a:rPr>
                        <a:t>[0]</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223520" lvl="0" indent="-342900" algn="just">
                        <a:lnSpc>
                          <a:spcPct val="115000"/>
                        </a:lnSpc>
                        <a:spcBef>
                          <a:spcPts val="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1) -(5)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2]</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6) -(8)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Times New Roman" panose="02020603050405020304" pitchFamily="18" charset="0"/>
                        <a:buChar char="-"/>
                      </a:pPr>
                      <a:r>
                        <a:rPr lang="en-ZA" sz="900" dirty="0">
                          <a:effectLst/>
                          <a:latin typeface="Tahoma" panose="020B0604030504040204" pitchFamily="34" charset="0"/>
                          <a:ea typeface="Tahoma" panose="020B0604030504040204" pitchFamily="34" charset="0"/>
                          <a:cs typeface="Tahoma" panose="020B0604030504040204" pitchFamily="34" charset="0"/>
                        </a:rPr>
                        <a:t> 9 or more years of employee wellness programme experience with relevant NQF 7 qualifications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Annexure J</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40</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1988693"/>
                  </a:ext>
                </a:extLst>
              </a:tr>
            </a:tbl>
          </a:graphicData>
        </a:graphic>
      </p:graphicFrame>
    </p:spTree>
    <p:extLst>
      <p:ext uri="{BB962C8B-B14F-4D97-AF65-F5344CB8AC3E}">
        <p14:creationId xmlns:p14="http://schemas.microsoft.com/office/powerpoint/2010/main" val="17170239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3">
            <a:extLst>
              <a:ext uri="{FF2B5EF4-FFF2-40B4-BE49-F238E27FC236}">
                <a16:creationId xmlns:a16="http://schemas.microsoft.com/office/drawing/2014/main" id="{CE959F53-6AD9-93C2-4F2E-B43D5E249769}"/>
              </a:ext>
            </a:extLst>
          </p:cNvPr>
          <p:cNvSpPr txBox="1">
            <a:spLocks/>
          </p:cNvSpPr>
          <p:nvPr/>
        </p:nvSpPr>
        <p:spPr>
          <a:xfrm>
            <a:off x="578004" y="849085"/>
            <a:ext cx="9490664" cy="5075854"/>
          </a:xfrm>
          <a:prstGeom prst="rect">
            <a:avLst/>
          </a:prstGeom>
        </p:spPr>
        <p:txBody>
          <a:bodyPr vert="horz" lIns="36000" tIns="18000" rIns="0" bIns="18000" rtlCol="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fontAlgn="base">
              <a:spcBef>
                <a:spcPct val="0"/>
              </a:spcBef>
              <a:spcAft>
                <a:spcPct val="0"/>
              </a:spcAft>
            </a:pPr>
            <a:r>
              <a:rPr lang="en-ZA" sz="2000" b="1" dirty="0">
                <a:solidFill>
                  <a:srgbClr val="C00000"/>
                </a:solidFill>
                <a:latin typeface="Tahoma" pitchFamily="34" charset="0"/>
                <a:cs typeface="Arial" charset="0"/>
              </a:rPr>
              <a:t>TECHNICAL: </a:t>
            </a:r>
          </a:p>
          <a:p>
            <a:pPr fontAlgn="base">
              <a:spcBef>
                <a:spcPct val="0"/>
              </a:spcBef>
              <a:spcAft>
                <a:spcPct val="0"/>
              </a:spcAft>
            </a:pPr>
            <a:r>
              <a:rPr lang="en-ZA" sz="1600" dirty="0">
                <a:solidFill>
                  <a:prstClr val="black"/>
                </a:solidFill>
                <a:latin typeface="Tahoma" pitchFamily="34" charset="0"/>
                <a:cs typeface="Arial" charset="0"/>
              </a:rPr>
              <a:t> </a:t>
            </a:r>
            <a:endParaRPr lang="en-ZA" dirty="0">
              <a:solidFill>
                <a:schemeClr val="tx1"/>
              </a:solidFill>
              <a:latin typeface="Tahoma" pitchFamily="34" charset="0"/>
              <a:cs typeface="Arial" charset="0"/>
            </a:endParaRPr>
          </a:p>
        </p:txBody>
      </p:sp>
      <p:sp>
        <p:nvSpPr>
          <p:cNvPr id="8" name="Title 7">
            <a:extLst>
              <a:ext uri="{FF2B5EF4-FFF2-40B4-BE49-F238E27FC236}">
                <a16:creationId xmlns:a16="http://schemas.microsoft.com/office/drawing/2014/main" id="{DE324B0F-8BD9-D387-AEEF-5724FA79C7D3}"/>
              </a:ext>
            </a:extLst>
          </p:cNvPr>
          <p:cNvSpPr>
            <a:spLocks noGrp="1"/>
          </p:cNvSpPr>
          <p:nvPr>
            <p:ph type="title"/>
          </p:nvPr>
        </p:nvSpPr>
        <p:spPr/>
        <p:txBody>
          <a:bodyPr/>
          <a:lstStyle/>
          <a:p>
            <a:r>
              <a:rPr lang="en-ZA" dirty="0"/>
              <a:t> </a:t>
            </a:r>
          </a:p>
        </p:txBody>
      </p:sp>
      <p:sp>
        <p:nvSpPr>
          <p:cNvPr id="9" name="Title 25">
            <a:extLst>
              <a:ext uri="{FF2B5EF4-FFF2-40B4-BE49-F238E27FC236}">
                <a16:creationId xmlns:a16="http://schemas.microsoft.com/office/drawing/2014/main" id="{0CA8E669-4B34-C8DA-842B-9F05699BBBBE}"/>
              </a:ext>
            </a:extLst>
          </p:cNvPr>
          <p:cNvSpPr txBox="1">
            <a:spLocks/>
          </p:cNvSpPr>
          <p:nvPr/>
        </p:nvSpPr>
        <p:spPr>
          <a:xfrm>
            <a:off x="288000" y="108000"/>
            <a:ext cx="10079725" cy="738664"/>
          </a:xfr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t>PROCUREMENT PROCESS </a:t>
            </a:r>
            <a:br>
              <a:rPr lang="en-US" dirty="0"/>
            </a:br>
            <a:r>
              <a:rPr lang="en-US" sz="1800" b="0" dirty="0">
                <a:solidFill>
                  <a:schemeClr val="bg1">
                    <a:lumMod val="50000"/>
                  </a:schemeClr>
                </a:solidFill>
              </a:rPr>
              <a:t>Evaluation Methodology (</a:t>
            </a:r>
            <a:r>
              <a:rPr lang="en-US" sz="1800" b="0" dirty="0" err="1">
                <a:solidFill>
                  <a:schemeClr val="bg1">
                    <a:lumMod val="50000"/>
                  </a:schemeClr>
                </a:solidFill>
              </a:rPr>
              <a:t>cont</a:t>
            </a:r>
            <a:r>
              <a:rPr lang="en-US" sz="1800" b="0" dirty="0">
                <a:solidFill>
                  <a:schemeClr val="bg1">
                    <a:lumMod val="50000"/>
                  </a:schemeClr>
                </a:solidFill>
              </a:rPr>
              <a:t>)</a:t>
            </a:r>
            <a:endParaRPr lang="en-US" b="0" dirty="0">
              <a:solidFill>
                <a:schemeClr val="bg1">
                  <a:lumMod val="50000"/>
                </a:schemeClr>
              </a:solidFill>
            </a:endParaRPr>
          </a:p>
        </p:txBody>
      </p:sp>
      <p:graphicFrame>
        <p:nvGraphicFramePr>
          <p:cNvPr id="5" name="Table 4">
            <a:extLst>
              <a:ext uri="{FF2B5EF4-FFF2-40B4-BE49-F238E27FC236}">
                <a16:creationId xmlns:a16="http://schemas.microsoft.com/office/drawing/2014/main" id="{494CBDFC-5AC7-F62C-2B49-3E76565FAA56}"/>
              </a:ext>
            </a:extLst>
          </p:cNvPr>
          <p:cNvGraphicFramePr>
            <a:graphicFrameLocks noGrp="1"/>
          </p:cNvGraphicFramePr>
          <p:nvPr>
            <p:extLst>
              <p:ext uri="{D42A27DB-BD31-4B8C-83A1-F6EECF244321}">
                <p14:modId xmlns:p14="http://schemas.microsoft.com/office/powerpoint/2010/main" val="1121848512"/>
              </p:ext>
            </p:extLst>
          </p:nvPr>
        </p:nvGraphicFramePr>
        <p:xfrm>
          <a:off x="651183" y="1318476"/>
          <a:ext cx="10356696" cy="5151730"/>
        </p:xfrm>
        <a:graphic>
          <a:graphicData uri="http://schemas.openxmlformats.org/drawingml/2006/table">
            <a:tbl>
              <a:tblPr firstRow="1" firstCol="1" lastRow="1" lastCol="1" bandRow="1" bandCol="1"/>
              <a:tblGrid>
                <a:gridCol w="7895635">
                  <a:extLst>
                    <a:ext uri="{9D8B030D-6E8A-4147-A177-3AD203B41FA5}">
                      <a16:colId xmlns:a16="http://schemas.microsoft.com/office/drawing/2014/main" val="2723328783"/>
                    </a:ext>
                  </a:extLst>
                </a:gridCol>
                <a:gridCol w="1463957">
                  <a:extLst>
                    <a:ext uri="{9D8B030D-6E8A-4147-A177-3AD203B41FA5}">
                      <a16:colId xmlns:a16="http://schemas.microsoft.com/office/drawing/2014/main" val="1977442097"/>
                    </a:ext>
                  </a:extLst>
                </a:gridCol>
                <a:gridCol w="997104">
                  <a:extLst>
                    <a:ext uri="{9D8B030D-6E8A-4147-A177-3AD203B41FA5}">
                      <a16:colId xmlns:a16="http://schemas.microsoft.com/office/drawing/2014/main" val="4016695450"/>
                    </a:ext>
                  </a:extLst>
                </a:gridCol>
              </a:tblGrid>
              <a:tr h="2072424">
                <a:tc>
                  <a:txBody>
                    <a:bodyPr/>
                    <a:lstStyle/>
                    <a:p>
                      <a:pPr marL="0" marR="0" algn="just">
                        <a:lnSpc>
                          <a:spcPct val="150000"/>
                        </a:lnSpc>
                        <a:spcBef>
                          <a:spcPts val="300"/>
                        </a:spcBef>
                        <a:spcAft>
                          <a:spcPts val="0"/>
                        </a:spcAft>
                        <a:tabLst>
                          <a:tab pos="291465" algn="l"/>
                        </a:tabLst>
                      </a:pPr>
                      <a:r>
                        <a:rPr lang="en-GB" sz="900" b="1" dirty="0">
                          <a:effectLst/>
                          <a:latin typeface="Tahoma" panose="020B0604030504040204" pitchFamily="34" charset="0"/>
                          <a:ea typeface="Times New Roman" panose="02020603050405020304" pitchFamily="18" charset="0"/>
                          <a:cs typeface="Tahoma" panose="020B0604030504040204" pitchFamily="34" charset="0"/>
                        </a:rPr>
                        <a:t>Bidder`s Client Reference in debt management, rehabilitation, review, consolidation, mediation &amp; consultation)</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tabLst>
                          <a:tab pos="291465" algn="l"/>
                        </a:tabLst>
                      </a:pPr>
                      <a:r>
                        <a:rPr lang="en-GB" sz="900" b="1" dirty="0">
                          <a:effectLst/>
                          <a:latin typeface="Tahoma" panose="020B0604030504040204" pitchFamily="34" charset="0"/>
                          <a:ea typeface="Times New Roman" panose="02020603050405020304" pitchFamily="18" charset="0"/>
                          <a:cs typeface="Tahoma" panose="020B0604030504040204" pitchFamily="34" charset="0"/>
                        </a:rPr>
                        <a:t>Bidder`s Experience in Debt management, rehabilitation, review, consolidation, mediation &amp; consultation</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Bidders must provide signed client reference letters on official client letterhead, demonstrating their experience in running debt management, rehabilitation, review, consolidation, mediation &amp; Consultation over the past 5 years. Each reference letter should include the client's name, contact numbers, email address, a description of the work done, and the duration of the contract.</a:t>
                      </a:r>
                      <a:r>
                        <a:rPr lang="en-ZA" sz="900" dirty="0">
                          <a:effectLst/>
                          <a:latin typeface="Tahoma" panose="020B0604030504040204" pitchFamily="34" charset="0"/>
                          <a:ea typeface="Times New Roman" panose="02020603050405020304" pitchFamily="18" charset="0"/>
                          <a:cs typeface="Times New Roman" panose="02020603050405020304" pitchFamily="18" charset="0"/>
                        </a:rPr>
                        <a:t> </a:t>
                      </a:r>
                      <a:r>
                        <a:rPr lang="en-ZA" sz="900" dirty="0">
                          <a:effectLst/>
                          <a:latin typeface="Tahoma" panose="020B0604030504040204" pitchFamily="34" charset="0"/>
                          <a:ea typeface="Tahoma" panose="020B0604030504040204" pitchFamily="34" charset="0"/>
                          <a:cs typeface="Tahoma" panose="020B0604030504040204" pitchFamily="34" charset="0"/>
                        </a:rPr>
                        <a:t>The bidder needs to submit 1 to 5 reference letters.</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223520" algn="just">
                        <a:lnSpc>
                          <a:spcPct val="115000"/>
                        </a:lnSpc>
                        <a:spcBef>
                          <a:spcPts val="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106045" lvl="0" indent="-342900" algn="just">
                        <a:lnSpc>
                          <a:spcPct val="115000"/>
                        </a:lnSpc>
                        <a:spcBef>
                          <a:spcPts val="0"/>
                        </a:spcBef>
                        <a:spcAft>
                          <a:spcPts val="0"/>
                        </a:spcAft>
                        <a:buFont typeface="Times New Roman" panose="02020603050405020304" pitchFamily="18" charset="0"/>
                        <a:buChar char="-"/>
                      </a:pPr>
                      <a:r>
                        <a:rPr lang="en-US" sz="900" dirty="0">
                          <a:effectLst/>
                          <a:latin typeface="Tahoma" panose="020B0604030504040204" pitchFamily="34" charset="0"/>
                          <a:ea typeface="Tahoma" panose="020B0604030504040204" pitchFamily="34" charset="0"/>
                          <a:cs typeface="Tahoma" panose="020B0604030504040204" pitchFamily="34" charset="0"/>
                        </a:rPr>
                        <a:t>No experience with Debt Management etc. submitted </a:t>
                      </a:r>
                      <a:r>
                        <a:rPr lang="en-US" sz="900" b="1" dirty="0">
                          <a:effectLst/>
                          <a:latin typeface="Tahoma" panose="020B0604030504040204" pitchFamily="34" charset="0"/>
                          <a:ea typeface="Tahoma" panose="020B0604030504040204" pitchFamily="34" charset="0"/>
                          <a:cs typeface="Tahoma" panose="020B0604030504040204" pitchFamily="34" charset="0"/>
                        </a:rPr>
                        <a:t>[0]</a:t>
                      </a:r>
                      <a:endParaRPr lang="en-US" sz="900" b="1"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106045" lvl="0" indent="-342900" algn="just">
                        <a:lnSpc>
                          <a:spcPct val="115000"/>
                        </a:lnSpc>
                        <a:spcBef>
                          <a:spcPts val="0"/>
                        </a:spcBef>
                        <a:spcAft>
                          <a:spcPts val="0"/>
                        </a:spcAft>
                        <a:buFont typeface="Times New Roman" panose="02020603050405020304" pitchFamily="18" charset="0"/>
                        <a:buChar char="-"/>
                      </a:pPr>
                      <a:r>
                        <a:rPr lang="en-US" sz="900" dirty="0">
                          <a:effectLst/>
                          <a:latin typeface="Tahoma" panose="020B0604030504040204" pitchFamily="34" charset="0"/>
                          <a:ea typeface="Tahoma" panose="020B0604030504040204" pitchFamily="34" charset="0"/>
                          <a:cs typeface="Tahoma" panose="020B0604030504040204" pitchFamily="34" charset="0"/>
                        </a:rPr>
                        <a:t>1-2 years’ experience in conducting Debt Management etc. </a:t>
                      </a:r>
                      <a:r>
                        <a:rPr lang="en-US" sz="900" b="1" dirty="0">
                          <a:effectLst/>
                          <a:latin typeface="Tahoma" panose="020B0604030504040204" pitchFamily="34" charset="0"/>
                          <a:ea typeface="Tahoma" panose="020B0604030504040204" pitchFamily="34" charset="0"/>
                          <a:cs typeface="Tahoma" panose="020B0604030504040204" pitchFamily="34" charset="0"/>
                        </a:rPr>
                        <a:t>[5]</a:t>
                      </a:r>
                      <a:endParaRPr lang="en-US" sz="900" b="1"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106045" lvl="0" indent="-342900" algn="just">
                        <a:lnSpc>
                          <a:spcPct val="115000"/>
                        </a:lnSpc>
                        <a:spcBef>
                          <a:spcPts val="0"/>
                        </a:spcBef>
                        <a:spcAft>
                          <a:spcPts val="0"/>
                        </a:spcAft>
                        <a:buFont typeface="Times New Roman" panose="02020603050405020304" pitchFamily="18" charset="0"/>
                        <a:buChar char="-"/>
                      </a:pPr>
                      <a:r>
                        <a:rPr lang="en-US" sz="900" dirty="0">
                          <a:effectLst/>
                          <a:latin typeface="Tahoma" panose="020B0604030504040204" pitchFamily="34" charset="0"/>
                          <a:ea typeface="Tahoma" panose="020B0604030504040204" pitchFamily="34" charset="0"/>
                          <a:cs typeface="Tahoma" panose="020B0604030504040204" pitchFamily="34" charset="0"/>
                        </a:rPr>
                        <a:t>3-4 years’ experience in conducting Debt Management etc. </a:t>
                      </a:r>
                      <a:r>
                        <a:rPr lang="en-US" sz="900" b="1" dirty="0">
                          <a:effectLst/>
                          <a:latin typeface="Tahoma" panose="020B0604030504040204" pitchFamily="34" charset="0"/>
                          <a:ea typeface="Tahoma" panose="020B0604030504040204" pitchFamily="34" charset="0"/>
                          <a:cs typeface="Tahoma" panose="020B0604030504040204" pitchFamily="34" charset="0"/>
                        </a:rPr>
                        <a:t>[10]</a:t>
                      </a:r>
                      <a:endParaRPr lang="en-US" sz="900" b="1"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300"/>
                        </a:spcBef>
                        <a:spcAft>
                          <a:spcPts val="0"/>
                        </a:spcAft>
                        <a:tabLst>
                          <a:tab pos="291465" algn="l"/>
                        </a:tabLst>
                      </a:pPr>
                      <a:r>
                        <a:rPr lang="en-US" sz="900" dirty="0">
                          <a:effectLst/>
                          <a:latin typeface="Tahoma" panose="020B0604030504040204" pitchFamily="34" charset="0"/>
                          <a:ea typeface="Tahoma" panose="020B0604030504040204" pitchFamily="34" charset="0"/>
                          <a:cs typeface="Tahoma" panose="020B0604030504040204" pitchFamily="34" charset="0"/>
                        </a:rPr>
                        <a:t>-        5 or more years’ experience in conducting Debt Management etc. </a:t>
                      </a:r>
                      <a:r>
                        <a:rPr lang="en-US" sz="900" b="1" dirty="0">
                          <a:effectLst/>
                          <a:latin typeface="Tahoma" panose="020B0604030504040204" pitchFamily="34" charset="0"/>
                          <a:ea typeface="Tahoma" panose="020B0604030504040204" pitchFamily="34" charset="0"/>
                          <a:cs typeface="Tahoma" panose="020B0604030504040204" pitchFamily="34" charset="0"/>
                        </a:rPr>
                        <a:t>[15]</a:t>
                      </a:r>
                      <a:endParaRPr lang="en-US" sz="900" b="1"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Annexure K</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10</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5086347"/>
                  </a:ext>
                </a:extLst>
              </a:tr>
              <a:tr h="2449421">
                <a:tc>
                  <a:txBody>
                    <a:bodyPr/>
                    <a:lstStyle/>
                    <a:p>
                      <a:pPr marL="0" marR="106045" algn="just">
                        <a:lnSpc>
                          <a:spcPct val="115000"/>
                        </a:lnSpc>
                        <a:spcBef>
                          <a:spcPts val="300"/>
                        </a:spcBef>
                        <a:spcAft>
                          <a:spcPts val="0"/>
                        </a:spcAft>
                      </a:pPr>
                      <a:r>
                        <a:rPr lang="en-ZA" sz="900" b="1" dirty="0">
                          <a:effectLst/>
                          <a:latin typeface="Tahoma" panose="020B0604030504040204" pitchFamily="34" charset="0"/>
                          <a:ea typeface="Tahoma" panose="020B0604030504040204" pitchFamily="34" charset="0"/>
                          <a:cs typeface="Tahoma" panose="020B0604030504040204" pitchFamily="34" charset="0"/>
                        </a:rPr>
                        <a:t>The Approach/ Methodology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Bidders must provide a detailed methodology and approach on how the required.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ervices will be provided. The methodology and approach must be aligned to the scope of work (SOW) and requirements detailing the following: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Counselling Services</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Health, Wellness &amp; Risk Management</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Organisational Health Services</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Annexure L</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35</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5271246"/>
                  </a:ext>
                </a:extLst>
              </a:tr>
            </a:tbl>
          </a:graphicData>
        </a:graphic>
      </p:graphicFrame>
    </p:spTree>
    <p:extLst>
      <p:ext uri="{BB962C8B-B14F-4D97-AF65-F5344CB8AC3E}">
        <p14:creationId xmlns:p14="http://schemas.microsoft.com/office/powerpoint/2010/main" val="2659319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3">
            <a:extLst>
              <a:ext uri="{FF2B5EF4-FFF2-40B4-BE49-F238E27FC236}">
                <a16:creationId xmlns:a16="http://schemas.microsoft.com/office/drawing/2014/main" id="{CE959F53-6AD9-93C2-4F2E-B43D5E249769}"/>
              </a:ext>
            </a:extLst>
          </p:cNvPr>
          <p:cNvSpPr txBox="1">
            <a:spLocks/>
          </p:cNvSpPr>
          <p:nvPr/>
        </p:nvSpPr>
        <p:spPr>
          <a:xfrm>
            <a:off x="578004" y="849085"/>
            <a:ext cx="9490664" cy="5075854"/>
          </a:xfrm>
          <a:prstGeom prst="rect">
            <a:avLst/>
          </a:prstGeom>
        </p:spPr>
        <p:txBody>
          <a:bodyPr vert="horz" lIns="36000" tIns="18000" rIns="0" bIns="18000" rtlCol="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fontAlgn="base">
              <a:spcBef>
                <a:spcPct val="0"/>
              </a:spcBef>
              <a:spcAft>
                <a:spcPct val="0"/>
              </a:spcAft>
            </a:pPr>
            <a:r>
              <a:rPr lang="en-ZA" sz="2000" b="1" dirty="0">
                <a:solidFill>
                  <a:srgbClr val="C00000"/>
                </a:solidFill>
                <a:latin typeface="Tahoma" pitchFamily="34" charset="0"/>
                <a:cs typeface="Arial" charset="0"/>
              </a:rPr>
              <a:t>TECHNICAL: </a:t>
            </a:r>
          </a:p>
          <a:p>
            <a:pPr fontAlgn="base">
              <a:spcBef>
                <a:spcPct val="0"/>
              </a:spcBef>
              <a:spcAft>
                <a:spcPct val="0"/>
              </a:spcAft>
            </a:pPr>
            <a:r>
              <a:rPr lang="en-ZA" sz="1600" dirty="0">
                <a:solidFill>
                  <a:prstClr val="black"/>
                </a:solidFill>
                <a:latin typeface="Tahoma" pitchFamily="34" charset="0"/>
                <a:cs typeface="Arial" charset="0"/>
              </a:rPr>
              <a:t> </a:t>
            </a:r>
            <a:endParaRPr lang="en-ZA" dirty="0">
              <a:solidFill>
                <a:schemeClr val="tx1"/>
              </a:solidFill>
              <a:latin typeface="Tahoma" pitchFamily="34" charset="0"/>
              <a:cs typeface="Arial" charset="0"/>
            </a:endParaRPr>
          </a:p>
        </p:txBody>
      </p:sp>
      <p:sp>
        <p:nvSpPr>
          <p:cNvPr id="8" name="Title 7">
            <a:extLst>
              <a:ext uri="{FF2B5EF4-FFF2-40B4-BE49-F238E27FC236}">
                <a16:creationId xmlns:a16="http://schemas.microsoft.com/office/drawing/2014/main" id="{DE324B0F-8BD9-D387-AEEF-5724FA79C7D3}"/>
              </a:ext>
            </a:extLst>
          </p:cNvPr>
          <p:cNvSpPr>
            <a:spLocks noGrp="1"/>
          </p:cNvSpPr>
          <p:nvPr>
            <p:ph type="title"/>
          </p:nvPr>
        </p:nvSpPr>
        <p:spPr/>
        <p:txBody>
          <a:bodyPr/>
          <a:lstStyle/>
          <a:p>
            <a:r>
              <a:rPr lang="en-ZA" dirty="0"/>
              <a:t> </a:t>
            </a:r>
          </a:p>
        </p:txBody>
      </p:sp>
      <p:sp>
        <p:nvSpPr>
          <p:cNvPr id="9" name="Title 25">
            <a:extLst>
              <a:ext uri="{FF2B5EF4-FFF2-40B4-BE49-F238E27FC236}">
                <a16:creationId xmlns:a16="http://schemas.microsoft.com/office/drawing/2014/main" id="{0CA8E669-4B34-C8DA-842B-9F05699BBBBE}"/>
              </a:ext>
            </a:extLst>
          </p:cNvPr>
          <p:cNvSpPr txBox="1">
            <a:spLocks/>
          </p:cNvSpPr>
          <p:nvPr/>
        </p:nvSpPr>
        <p:spPr>
          <a:xfrm>
            <a:off x="288000" y="108000"/>
            <a:ext cx="10079725" cy="738664"/>
          </a:xfr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t>PROCUREMENT PROCESS </a:t>
            </a:r>
            <a:br>
              <a:rPr lang="en-US" dirty="0"/>
            </a:br>
            <a:r>
              <a:rPr lang="en-US" sz="1800" b="0" dirty="0">
                <a:solidFill>
                  <a:schemeClr val="bg1">
                    <a:lumMod val="50000"/>
                  </a:schemeClr>
                </a:solidFill>
              </a:rPr>
              <a:t>Evaluation Methodology (</a:t>
            </a:r>
            <a:r>
              <a:rPr lang="en-US" sz="1800" b="0" dirty="0" err="1">
                <a:solidFill>
                  <a:schemeClr val="bg1">
                    <a:lumMod val="50000"/>
                  </a:schemeClr>
                </a:solidFill>
              </a:rPr>
              <a:t>cont</a:t>
            </a:r>
            <a:r>
              <a:rPr lang="en-US" sz="1800" b="0" dirty="0">
                <a:solidFill>
                  <a:schemeClr val="bg1">
                    <a:lumMod val="50000"/>
                  </a:schemeClr>
                </a:solidFill>
              </a:rPr>
              <a:t>)</a:t>
            </a:r>
            <a:endParaRPr lang="en-US" b="0" dirty="0">
              <a:solidFill>
                <a:schemeClr val="bg1">
                  <a:lumMod val="50000"/>
                </a:schemeClr>
              </a:solidFill>
            </a:endParaRPr>
          </a:p>
        </p:txBody>
      </p:sp>
      <p:graphicFrame>
        <p:nvGraphicFramePr>
          <p:cNvPr id="5" name="Table 4">
            <a:extLst>
              <a:ext uri="{FF2B5EF4-FFF2-40B4-BE49-F238E27FC236}">
                <a16:creationId xmlns:a16="http://schemas.microsoft.com/office/drawing/2014/main" id="{494CBDFC-5AC7-F62C-2B49-3E76565FAA56}"/>
              </a:ext>
            </a:extLst>
          </p:cNvPr>
          <p:cNvGraphicFramePr>
            <a:graphicFrameLocks noGrp="1"/>
          </p:cNvGraphicFramePr>
          <p:nvPr>
            <p:extLst>
              <p:ext uri="{D42A27DB-BD31-4B8C-83A1-F6EECF244321}">
                <p14:modId xmlns:p14="http://schemas.microsoft.com/office/powerpoint/2010/main" val="692300807"/>
              </p:ext>
            </p:extLst>
          </p:nvPr>
        </p:nvGraphicFramePr>
        <p:xfrm>
          <a:off x="578004" y="1446739"/>
          <a:ext cx="10356696" cy="4959148"/>
        </p:xfrm>
        <a:graphic>
          <a:graphicData uri="http://schemas.openxmlformats.org/drawingml/2006/table">
            <a:tbl>
              <a:tblPr firstRow="1" firstCol="1" lastRow="1" lastCol="1" bandRow="1" bandCol="1"/>
              <a:tblGrid>
                <a:gridCol w="7889721">
                  <a:extLst>
                    <a:ext uri="{9D8B030D-6E8A-4147-A177-3AD203B41FA5}">
                      <a16:colId xmlns:a16="http://schemas.microsoft.com/office/drawing/2014/main" val="2723328783"/>
                    </a:ext>
                  </a:extLst>
                </a:gridCol>
                <a:gridCol w="1469871">
                  <a:extLst>
                    <a:ext uri="{9D8B030D-6E8A-4147-A177-3AD203B41FA5}">
                      <a16:colId xmlns:a16="http://schemas.microsoft.com/office/drawing/2014/main" val="1977442097"/>
                    </a:ext>
                  </a:extLst>
                </a:gridCol>
                <a:gridCol w="997104">
                  <a:extLst>
                    <a:ext uri="{9D8B030D-6E8A-4147-A177-3AD203B41FA5}">
                      <a16:colId xmlns:a16="http://schemas.microsoft.com/office/drawing/2014/main" val="4016695450"/>
                    </a:ext>
                  </a:extLst>
                </a:gridCol>
              </a:tblGrid>
              <a:tr h="3963617">
                <a:tc>
                  <a:txBody>
                    <a:bodyPr/>
                    <a:lstStyle/>
                    <a:p>
                      <a:pPr marL="0" marR="106045" algn="just">
                        <a:lnSpc>
                          <a:spcPct val="115000"/>
                        </a:lnSpc>
                        <a:spcBef>
                          <a:spcPts val="300"/>
                        </a:spcBef>
                        <a:spcAft>
                          <a:spcPts val="0"/>
                        </a:spcAft>
                      </a:pPr>
                      <a:r>
                        <a:rPr lang="en-ZA" sz="900" b="1" dirty="0">
                          <a:effectLst/>
                          <a:latin typeface="Tahoma" panose="020B0604030504040204" pitchFamily="34" charset="0"/>
                          <a:ea typeface="Tahoma" panose="020B0604030504040204" pitchFamily="34" charset="0"/>
                          <a:cs typeface="Tahoma" panose="020B0604030504040204" pitchFamily="34" charset="0"/>
                        </a:rPr>
                        <a:t>The Approach/ Methodology Continue….</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Awareness, Education &amp; Training</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Lifestyle Management</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Executive Wellness</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a:t>
                      </a: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i="1" dirty="0">
                          <a:effectLst/>
                          <a:latin typeface="Tahoma" panose="020B0604030504040204" pitchFamily="34" charset="0"/>
                          <a:ea typeface="Tahoma" panose="020B0604030504040204" pitchFamily="34" charset="0"/>
                          <a:cs typeface="Tahoma" panose="020B0604030504040204" pitchFamily="34" charset="0"/>
                        </a:rPr>
                        <a:t>Implementation of Advanced Financial management, detailing on how to do debt management, debt review, debt  consolidation and  debt rehabilitation process</a:t>
                      </a:r>
                      <a:r>
                        <a:rPr lang="en-ZA" sz="900" dirty="0">
                          <a:effectLst/>
                          <a:latin typeface="Tahoma" panose="020B0604030504040204" pitchFamily="34" charset="0"/>
                          <a:ea typeface="Tahoma" panose="020B0604030504040204" pitchFamily="34" charset="0"/>
                          <a:cs typeface="Tahoma" panose="020B0604030504040204" pitchFamily="34" charset="0"/>
                        </a:rPr>
                        <a:t>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Methodology and approach are presented at a high level, with little to no details   supplied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2]</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uccinct justifications for the related output of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3]</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Submission of the methodology and approach, along with specific information for the necessary output on the scope of work </a:t>
                      </a:r>
                      <a:r>
                        <a:rPr lang="en-ZA" sz="900" b="1" dirty="0">
                          <a:effectLst/>
                          <a:latin typeface="Tahoma" panose="020B0604030504040204" pitchFamily="34" charset="0"/>
                          <a:ea typeface="Tahoma" panose="020B0604030504040204" pitchFamily="34" charset="0"/>
                          <a:cs typeface="Tahoma" panose="020B0604030504040204" pitchFamily="34" charset="0"/>
                        </a:rPr>
                        <a:t>[5]</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106045" algn="just">
                        <a:lnSpc>
                          <a:spcPct val="115000"/>
                        </a:lnSpc>
                        <a:spcBef>
                          <a:spcPts val="300"/>
                        </a:spcBef>
                        <a:spcAft>
                          <a:spcPts val="0"/>
                        </a:spcAft>
                      </a:pPr>
                      <a:r>
                        <a:rPr lang="en-ZA" sz="900" b="1" dirty="0">
                          <a:effectLst/>
                          <a:latin typeface="Tahoma" panose="020B0604030504040204" pitchFamily="34" charset="0"/>
                          <a:ea typeface="Tahoma" panose="020B0604030504040204" pitchFamily="34" charset="0"/>
                          <a:cs typeface="Tahoma" panose="020B0604030504040204" pitchFamily="34" charset="0"/>
                        </a:rPr>
                        <a:t> </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Annexure L</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r>
                        <a:rPr lang="en-ZA" sz="1100" b="1" kern="1200" dirty="0">
                          <a:solidFill>
                            <a:schemeClr val="tx1"/>
                          </a:solidFill>
                          <a:effectLst/>
                          <a:latin typeface="Tahoma" panose="020B0604030504040204" pitchFamily="34" charset="0"/>
                          <a:cs typeface="+mn-cs"/>
                        </a:rPr>
                        <a:t>35</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5271246"/>
                  </a:ext>
                </a:extLst>
              </a:tr>
              <a:tr h="375901">
                <a:tc>
                  <a:txBody>
                    <a:bodyPr/>
                    <a:lstStyle/>
                    <a:p>
                      <a:pPr marL="0" marR="106045" algn="r">
                        <a:lnSpc>
                          <a:spcPct val="115000"/>
                        </a:lnSpc>
                        <a:spcBef>
                          <a:spcPts val="300"/>
                        </a:spcBef>
                        <a:spcAft>
                          <a:spcPts val="0"/>
                        </a:spcAft>
                      </a:pPr>
                      <a:r>
                        <a:rPr lang="en-ZA" sz="900" b="1" dirty="0">
                          <a:effectLst/>
                          <a:latin typeface="Tahoma" panose="020B0604030504040204" pitchFamily="34" charset="0"/>
                          <a:ea typeface="Times New Roman" panose="02020603050405020304" pitchFamily="18" charset="0"/>
                          <a:cs typeface="Times New Roman" panose="02020603050405020304" pitchFamily="18" charset="0"/>
                        </a:rPr>
                        <a:t>                                                                                            Total Weigh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779173" rtl="0" eaLnBrk="1" latinLnBrk="0" hangingPunct="1"/>
                      <a:r>
                        <a:rPr lang="en-ZA" sz="1100" b="1" kern="1200" dirty="0">
                          <a:solidFill>
                            <a:schemeClr val="tx1"/>
                          </a:solidFill>
                          <a:effectLst/>
                          <a:latin typeface="Tahoma" panose="020B0604030504040204" pitchFamily="34" charset="0"/>
                          <a:cs typeface="+mn-cs"/>
                        </a:rPr>
                        <a:t>100</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353469"/>
                  </a:ext>
                </a:extLst>
              </a:tr>
              <a:tr h="367037">
                <a:tc>
                  <a:txBody>
                    <a:bodyPr/>
                    <a:lstStyle/>
                    <a:p>
                      <a:pPr marL="0" marR="106045" algn="r">
                        <a:lnSpc>
                          <a:spcPct val="115000"/>
                        </a:lnSpc>
                        <a:spcBef>
                          <a:spcPts val="300"/>
                        </a:spcBef>
                        <a:spcAft>
                          <a:spcPts val="0"/>
                        </a:spcAft>
                      </a:pPr>
                      <a:r>
                        <a:rPr lang="en-ZA" sz="900" b="1" dirty="0">
                          <a:effectLst/>
                          <a:latin typeface="Tahoma" panose="020B0604030504040204" pitchFamily="34" charset="0"/>
                          <a:ea typeface="Times New Roman" panose="02020603050405020304" pitchFamily="18" charset="0"/>
                          <a:cs typeface="Times New Roman" panose="02020603050405020304" pitchFamily="18" charset="0"/>
                        </a:rPr>
                        <a:t>Minimum qualifying score required</a:t>
                      </a:r>
                      <a:r>
                        <a:rPr lang="en-ZA" sz="900" dirty="0">
                          <a:effectLst/>
                          <a:latin typeface="Tahoma" panose="020B0604030504040204" pitchFamily="34" charset="0"/>
                          <a:ea typeface="Times New Roman" panose="02020603050405020304" pitchFamily="18" charset="0"/>
                          <a:cs typeface="Times New Roman" panose="02020603050405020304" pitchFamily="18" charset="0"/>
                        </a:rPr>
                        <a:t>:</a:t>
                      </a:r>
                      <a:endParaRPr lang="en-US"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779173" rtl="0" eaLnBrk="1" latinLnBrk="0" hangingPunct="1"/>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779173" rtl="0" eaLnBrk="1" latinLnBrk="0" hangingPunct="1"/>
                      <a:r>
                        <a:rPr lang="en-ZA" sz="1100" b="1" kern="1200" dirty="0">
                          <a:solidFill>
                            <a:schemeClr val="tx1"/>
                          </a:solidFill>
                          <a:effectLst/>
                          <a:latin typeface="Tahoma" panose="020B0604030504040204" pitchFamily="34" charset="0"/>
                          <a:cs typeface="+mn-cs"/>
                        </a:rPr>
                        <a:t>80</a:t>
                      </a:r>
                      <a:endParaRPr lang="en-US" sz="1100" b="1" kern="1200" dirty="0">
                        <a:solidFill>
                          <a:schemeClr val="tx1"/>
                        </a:solidFill>
                        <a:effectLst/>
                        <a:latin typeface="Tahoma" panose="020B0604030504040204" pitchFamily="34"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7766580"/>
                  </a:ext>
                </a:extLst>
              </a:tr>
            </a:tbl>
          </a:graphicData>
        </a:graphic>
      </p:graphicFrame>
    </p:spTree>
    <p:extLst>
      <p:ext uri="{BB962C8B-B14F-4D97-AF65-F5344CB8AC3E}">
        <p14:creationId xmlns:p14="http://schemas.microsoft.com/office/powerpoint/2010/main" val="2101691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578004" y="849085"/>
            <a:ext cx="9490664" cy="5075854"/>
          </a:xfrm>
          <a:prstGeom prst="rect">
            <a:avLst/>
          </a:prstGeom>
        </p:spPr>
        <p:txBody>
          <a:bodyPr vert="horz" lIns="36000" tIns="18000" rIns="0" bIns="18000" rtlCol="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marR="0" lvl="0" indent="0" algn="l" defTabSz="844083" rtl="0" eaLnBrk="1" fontAlgn="base" latinLnBrk="0" hangingPunct="1">
              <a:lnSpc>
                <a:spcPct val="110000"/>
              </a:lnSpc>
              <a:spcBef>
                <a:spcPct val="0"/>
              </a:spcBef>
              <a:spcAft>
                <a:spcPct val="0"/>
              </a:spcAft>
              <a:buClrTx/>
              <a:buSzTx/>
              <a:buFont typeface="Arial" pitchFamily="34" charset="0"/>
              <a:buNone/>
              <a:tabLst/>
              <a:defRPr/>
            </a:pPr>
            <a:r>
              <a:rPr lang="en-ZA" sz="2000" b="1" dirty="0">
                <a:solidFill>
                  <a:srgbClr val="C00000"/>
                </a:solidFill>
                <a:latin typeface="Tahoma" pitchFamily="34" charset="0"/>
                <a:cs typeface="Arial" charset="0"/>
              </a:rPr>
              <a:t>WEIGHTED SCORING &amp; NEXT STEPS</a:t>
            </a:r>
            <a:endParaRPr kumimoji="0" lang="en-ZA" sz="2000" b="1" i="0" u="none" strike="noStrike" kern="1200" cap="none" spc="0" normalizeH="0" baseline="0" noProof="0" dirty="0">
              <a:ln>
                <a:noFill/>
              </a:ln>
              <a:solidFill>
                <a:srgbClr val="C00000"/>
              </a:solidFill>
              <a:effectLst/>
              <a:uLnTx/>
              <a:uFillTx/>
              <a:latin typeface="Tahoma" pitchFamily="34" charset="0"/>
              <a:ea typeface="+mn-ea"/>
              <a:cs typeface="Arial" charset="0"/>
            </a:endParaRPr>
          </a:p>
          <a:p>
            <a:pPr marL="0" marR="0" lvl="0" indent="0" algn="l" defTabSz="844083" rtl="0" eaLnBrk="1" fontAlgn="base" latinLnBrk="0" hangingPunct="1">
              <a:lnSpc>
                <a:spcPct val="110000"/>
              </a:lnSpc>
              <a:spcBef>
                <a:spcPct val="0"/>
              </a:spcBef>
              <a:spcAft>
                <a:spcPct val="0"/>
              </a:spcAft>
              <a:buClrTx/>
              <a:buSzTx/>
              <a:buFont typeface="Arial" pitchFamily="34" charset="0"/>
              <a:buNone/>
              <a:tabLst/>
              <a:defRPr/>
            </a:pPr>
            <a:endParaRPr kumimoji="0" lang="en-ZA" sz="2000" b="1" i="0" u="none" strike="noStrike" kern="1200" cap="none" spc="0" normalizeH="0" baseline="0" noProof="0" dirty="0">
              <a:ln>
                <a:noFill/>
              </a:ln>
              <a:solidFill>
                <a:prstClr val="black"/>
              </a:solidFill>
              <a:effectLst/>
              <a:uLnTx/>
              <a:uFillTx/>
              <a:latin typeface="Tahoma" pitchFamily="34" charset="0"/>
              <a:ea typeface="+mn-ea"/>
              <a:cs typeface="Arial" charset="0"/>
            </a:endParaRPr>
          </a:p>
          <a:p>
            <a:pPr fontAlgn="base">
              <a:spcBef>
                <a:spcPct val="0"/>
              </a:spcBef>
              <a:spcAft>
                <a:spcPct val="0"/>
              </a:spcAft>
              <a:defRPr/>
            </a:pPr>
            <a:r>
              <a:rPr lang="en-ZA" sz="2000" b="1" dirty="0">
                <a:solidFill>
                  <a:prstClr val="black"/>
                </a:solidFill>
                <a:latin typeface="Tahoma" pitchFamily="34" charset="0"/>
                <a:cs typeface="Arial" charset="0"/>
              </a:rPr>
              <a:t>Step 4: Price and  Specific Goals</a:t>
            </a:r>
          </a:p>
          <a:p>
            <a:pPr marL="285750" indent="-285750">
              <a:spcBef>
                <a:spcPct val="0"/>
              </a:spcBef>
              <a:spcAft>
                <a:spcPct val="0"/>
              </a:spcAft>
              <a:buFont typeface="Courier New" panose="02070309020205020404" pitchFamily="49" charset="0"/>
              <a:buChar char="o"/>
              <a:defRPr/>
            </a:pPr>
            <a:r>
              <a:rPr lang="en-ZA" dirty="0">
                <a:solidFill>
                  <a:prstClr val="black"/>
                </a:solidFill>
                <a:latin typeface="Tahoma" pitchFamily="34" charset="0"/>
                <a:cs typeface="Arial" charset="0"/>
              </a:rPr>
              <a:t>Only bidders who have met step 3 will proceed to this step .</a:t>
            </a:r>
          </a:p>
          <a:p>
            <a:pPr marL="285750" indent="-285750">
              <a:spcBef>
                <a:spcPct val="0"/>
              </a:spcBef>
              <a:spcAft>
                <a:spcPct val="0"/>
              </a:spcAft>
              <a:buFont typeface="Courier New" panose="02070309020205020404" pitchFamily="49" charset="0"/>
              <a:buChar char="o"/>
              <a:defRPr/>
            </a:pPr>
            <a:r>
              <a:rPr lang="en-ZA" dirty="0">
                <a:solidFill>
                  <a:prstClr val="black"/>
                </a:solidFill>
                <a:latin typeface="Tahoma" pitchFamily="34" charset="0"/>
                <a:cs typeface="Arial" charset="0"/>
              </a:rPr>
              <a:t>Points will be allocated as follows:</a:t>
            </a:r>
          </a:p>
          <a:p>
            <a:pPr lvl="2" indent="0">
              <a:spcBef>
                <a:spcPct val="0"/>
              </a:spcBef>
              <a:spcAft>
                <a:spcPct val="0"/>
              </a:spcAft>
              <a:buNone/>
              <a:defRPr/>
            </a:pPr>
            <a:r>
              <a:rPr lang="en-ZA" dirty="0">
                <a:solidFill>
                  <a:prstClr val="black"/>
                </a:solidFill>
                <a:latin typeface="Tahoma" pitchFamily="34" charset="0"/>
                <a:cs typeface="Arial" charset="0"/>
              </a:rPr>
              <a:t>Price (90); and</a:t>
            </a:r>
          </a:p>
          <a:p>
            <a:pPr lvl="2" indent="0">
              <a:spcBef>
                <a:spcPct val="0"/>
              </a:spcBef>
              <a:spcAft>
                <a:spcPct val="0"/>
              </a:spcAft>
              <a:buNone/>
              <a:defRPr/>
            </a:pPr>
            <a:r>
              <a:rPr lang="en-ZA" dirty="0">
                <a:solidFill>
                  <a:prstClr val="black"/>
                </a:solidFill>
                <a:latin typeface="Tahoma" pitchFamily="34" charset="0"/>
                <a:cs typeface="Arial" charset="0"/>
              </a:rPr>
              <a:t>Specific Goals (10)</a:t>
            </a:r>
          </a:p>
          <a:p>
            <a:pPr lvl="0" defTabSz="457200" fontAlgn="base">
              <a:lnSpc>
                <a:spcPct val="100000"/>
              </a:lnSpc>
              <a:spcBef>
                <a:spcPct val="0"/>
              </a:spcBef>
              <a:spcAft>
                <a:spcPct val="0"/>
              </a:spcAft>
            </a:pPr>
            <a:endParaRPr lang="en-ZA" sz="2000" b="1" dirty="0">
              <a:solidFill>
                <a:prstClr val="black"/>
              </a:solidFill>
              <a:latin typeface="Tahoma" pitchFamily="34" charset="0"/>
              <a:cs typeface="Arial" charset="0"/>
            </a:endParaRPr>
          </a:p>
          <a:p>
            <a:pPr lvl="0" fontAlgn="base">
              <a:spcBef>
                <a:spcPct val="0"/>
              </a:spcBef>
              <a:spcAft>
                <a:spcPct val="0"/>
              </a:spcAft>
              <a:defRPr/>
            </a:pPr>
            <a:r>
              <a:rPr lang="en-ZA" sz="2000" b="1" dirty="0">
                <a:solidFill>
                  <a:prstClr val="black"/>
                </a:solidFill>
                <a:latin typeface="Tahoma" pitchFamily="34" charset="0"/>
                <a:cs typeface="Arial" charset="0"/>
              </a:rPr>
              <a:t>Step 5: Post Tender Negotiations ( if applicable)</a:t>
            </a:r>
          </a:p>
          <a:p>
            <a:pPr lvl="0" defTabSz="457200" fontAlgn="base">
              <a:lnSpc>
                <a:spcPct val="100000"/>
              </a:lnSpc>
              <a:spcBef>
                <a:spcPct val="0"/>
              </a:spcBef>
              <a:spcAft>
                <a:spcPct val="0"/>
              </a:spcAft>
            </a:pPr>
            <a:endParaRPr lang="en-ZA" sz="2000" b="1" dirty="0">
              <a:solidFill>
                <a:prstClr val="black"/>
              </a:solidFill>
              <a:latin typeface="Tahoma" pitchFamily="34" charset="0"/>
              <a:cs typeface="Arial" charset="0"/>
            </a:endParaRPr>
          </a:p>
          <a:p>
            <a:pPr defTabSz="457200" fontAlgn="base">
              <a:lnSpc>
                <a:spcPct val="100000"/>
              </a:lnSpc>
              <a:spcBef>
                <a:spcPct val="0"/>
              </a:spcBef>
              <a:spcAft>
                <a:spcPct val="0"/>
              </a:spcAft>
            </a:pPr>
            <a:r>
              <a:rPr lang="en-ZA" sz="2000" b="1" dirty="0">
                <a:solidFill>
                  <a:prstClr val="black"/>
                </a:solidFill>
                <a:latin typeface="Tahoma" pitchFamily="34" charset="0"/>
                <a:cs typeface="Arial" charset="0"/>
              </a:rPr>
              <a:t>Step 6: Objective Criteria ( if applicable) </a:t>
            </a:r>
          </a:p>
          <a:p>
            <a:pPr marL="285750" indent="-285750" defTabSz="457200" fontAlgn="base">
              <a:lnSpc>
                <a:spcPct val="100000"/>
              </a:lnSpc>
              <a:spcBef>
                <a:spcPct val="0"/>
              </a:spcBef>
              <a:spcAft>
                <a:spcPct val="0"/>
              </a:spcAft>
              <a:buFont typeface="Courier New" panose="02070309020205020404" pitchFamily="49" charset="0"/>
              <a:buChar char="o"/>
            </a:pPr>
            <a:endParaRPr lang="en-ZA" sz="2000" dirty="0">
              <a:solidFill>
                <a:prstClr val="black"/>
              </a:solidFill>
              <a:latin typeface="Tahoma" pitchFamily="34" charset="0"/>
              <a:cs typeface="Arial" charset="0"/>
            </a:endParaRPr>
          </a:p>
          <a:p>
            <a:pPr marR="0" fontAlgn="base">
              <a:spcBef>
                <a:spcPct val="0"/>
              </a:spcBef>
              <a:spcAft>
                <a:spcPct val="0"/>
              </a:spcAft>
              <a:buClrTx/>
              <a:buSzTx/>
              <a:tabLst/>
              <a:defRPr/>
            </a:pPr>
            <a:r>
              <a:rPr lang="en-ZA" sz="2000" b="1" dirty="0">
                <a:solidFill>
                  <a:prstClr val="black"/>
                </a:solidFill>
                <a:latin typeface="Tahoma" pitchFamily="34" charset="0"/>
                <a:cs typeface="Arial" charset="0"/>
              </a:rPr>
              <a:t>Step 7: Award of business and conclusion of contract</a:t>
            </a:r>
          </a:p>
        </p:txBody>
      </p:sp>
      <p:sp>
        <p:nvSpPr>
          <p:cNvPr id="5" name="Title 4">
            <a:extLst>
              <a:ext uri="{FF2B5EF4-FFF2-40B4-BE49-F238E27FC236}">
                <a16:creationId xmlns:a16="http://schemas.microsoft.com/office/drawing/2014/main" id="{3F9ED541-8692-3AF0-0CE5-8474EA1D12AB}"/>
              </a:ext>
            </a:extLst>
          </p:cNvPr>
          <p:cNvSpPr>
            <a:spLocks noGrp="1"/>
          </p:cNvSpPr>
          <p:nvPr>
            <p:ph type="title"/>
          </p:nvPr>
        </p:nvSpPr>
        <p:spPr/>
        <p:txBody>
          <a:bodyPr/>
          <a:lstStyle/>
          <a:p>
            <a:r>
              <a:rPr lang="en-ZA" dirty="0"/>
              <a:t> </a:t>
            </a:r>
          </a:p>
        </p:txBody>
      </p:sp>
      <p:sp>
        <p:nvSpPr>
          <p:cNvPr id="6" name="Title 25">
            <a:extLst>
              <a:ext uri="{FF2B5EF4-FFF2-40B4-BE49-F238E27FC236}">
                <a16:creationId xmlns:a16="http://schemas.microsoft.com/office/drawing/2014/main" id="{9EF23A4B-EA97-BE08-2809-3DB6BA606457}"/>
              </a:ext>
            </a:extLst>
          </p:cNvPr>
          <p:cNvSpPr txBox="1">
            <a:spLocks/>
          </p:cNvSpPr>
          <p:nvPr/>
        </p:nvSpPr>
        <p:spPr>
          <a:xfrm>
            <a:off x="288000" y="108000"/>
            <a:ext cx="10079725" cy="738664"/>
          </a:xfr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t>PROCUREMENT PROCESS </a:t>
            </a:r>
            <a:br>
              <a:rPr lang="en-US" dirty="0"/>
            </a:br>
            <a:r>
              <a:rPr lang="en-US" sz="1800" b="0" dirty="0">
                <a:solidFill>
                  <a:schemeClr val="bg1">
                    <a:lumMod val="50000"/>
                  </a:schemeClr>
                </a:solidFill>
              </a:rPr>
              <a:t>Evaluation Methodology (</a:t>
            </a:r>
            <a:r>
              <a:rPr lang="en-US" sz="1800" b="0" dirty="0" err="1">
                <a:solidFill>
                  <a:schemeClr val="bg1">
                    <a:lumMod val="50000"/>
                  </a:schemeClr>
                </a:solidFill>
              </a:rPr>
              <a:t>cont</a:t>
            </a:r>
            <a:r>
              <a:rPr lang="en-US" sz="1800" b="0" dirty="0">
                <a:solidFill>
                  <a:schemeClr val="bg1">
                    <a:lumMod val="50000"/>
                  </a:schemeClr>
                </a:solidFill>
              </a:rPr>
              <a:t>)</a:t>
            </a:r>
            <a:endParaRPr lang="en-US" b="0" dirty="0">
              <a:solidFill>
                <a:schemeClr val="bg1">
                  <a:lumMod val="50000"/>
                </a:schemeClr>
              </a:solidFill>
            </a:endParaRPr>
          </a:p>
        </p:txBody>
      </p:sp>
    </p:spTree>
    <p:extLst>
      <p:ext uri="{BB962C8B-B14F-4D97-AF65-F5344CB8AC3E}">
        <p14:creationId xmlns:p14="http://schemas.microsoft.com/office/powerpoint/2010/main" val="1479342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B09E5C05-58EE-8F81-7FB9-2B431E9D0176}"/>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3" name="Rectangle 2">
            <a:extLst>
              <a:ext uri="{FF2B5EF4-FFF2-40B4-BE49-F238E27FC236}">
                <a16:creationId xmlns:a16="http://schemas.microsoft.com/office/drawing/2014/main" id="{0A2EDAA9-AC0D-B8CB-813C-52A53473DD93}"/>
              </a:ext>
            </a:extLst>
          </p:cNvPr>
          <p:cNvSpPr/>
          <p:nvPr/>
        </p:nvSpPr>
        <p:spPr>
          <a:xfrm>
            <a:off x="11588593" y="6534855"/>
            <a:ext cx="520704" cy="214315"/>
          </a:xfrm>
          <a:prstGeom prst="rect">
            <a:avLst/>
          </a:prstGeom>
        </p:spPr>
        <p:txBody>
          <a:bodyPr vert="horz" lIns="0" tIns="0" rIns="0" bIns="46012"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fld id="{6ED65CF5-D76E-45E1-818D-9A8AC32524F3}" type="slidenum">
              <a:rPr kumimoji="0" lang="en-ZA" sz="900" b="1"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ZA" sz="767" b="1" i="0" u="none" strike="noStrike" kern="1200" cap="none" spc="0" normalizeH="0" baseline="0" noProof="0">
              <a:ln>
                <a:noFill/>
              </a:ln>
              <a:solidFill>
                <a:srgbClr val="FFFFFF"/>
              </a:solidFill>
              <a:effectLst/>
              <a:uLnTx/>
              <a:uFillTx/>
              <a:latin typeface="Tahoma"/>
              <a:ea typeface="+mn-ea"/>
              <a:cs typeface="+mn-cs"/>
            </a:endParaRPr>
          </a:p>
        </p:txBody>
      </p:sp>
      <p:pic>
        <p:nvPicPr>
          <p:cNvPr id="4" name="Picture 3">
            <a:extLst>
              <a:ext uri="{FF2B5EF4-FFF2-40B4-BE49-F238E27FC236}">
                <a16:creationId xmlns:a16="http://schemas.microsoft.com/office/drawing/2014/main" id="{BA32E800-EFD1-9B45-4BF9-7DD5C13E1BF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Rectangle 10">
            <a:extLst>
              <a:ext uri="{FF2B5EF4-FFF2-40B4-BE49-F238E27FC236}">
                <a16:creationId xmlns:a16="http://schemas.microsoft.com/office/drawing/2014/main" id="{A20E62EB-9D55-0082-AC53-5CE4C986D703}"/>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12" name="Title 22">
            <a:extLst>
              <a:ext uri="{FF2B5EF4-FFF2-40B4-BE49-F238E27FC236}">
                <a16:creationId xmlns:a16="http://schemas.microsoft.com/office/drawing/2014/main" id="{96B98C66-4076-5D6C-0086-61DB1E73A795}"/>
              </a:ext>
            </a:extLst>
          </p:cNvPr>
          <p:cNvSpPr txBox="1">
            <a:spLocks/>
          </p:cNvSpPr>
          <p:nvPr/>
        </p:nvSpPr>
        <p:spPr>
          <a:xfrm>
            <a:off x="1972970" y="1078100"/>
            <a:ext cx="7412385" cy="184665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marL="0" marR="0" lvl="0" indent="0" algn="r" defTabSz="779173"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t>Introduction</a:t>
            </a:r>
            <a:b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br>
            <a:endParaRPr kumimoji="0" lang="en-US" sz="5400" b="1" i="0" u="none" strike="noStrike" kern="1200" cap="none" spc="0" normalizeH="0" baseline="0" noProof="0" dirty="0">
              <a:ln>
                <a:noFill/>
              </a:ln>
              <a:solidFill>
                <a:srgbClr val="000000"/>
              </a:solidFill>
              <a:effectLst/>
              <a:uLnTx/>
              <a:uFillTx/>
              <a:latin typeface="Apex New Bold" panose="02010600040501010103" pitchFamily="2" charset="77"/>
              <a:cs typeface="+mj-cs"/>
            </a:endParaRPr>
          </a:p>
        </p:txBody>
      </p:sp>
      <p:sp>
        <p:nvSpPr>
          <p:cNvPr id="16" name="Graphic 64">
            <a:extLst>
              <a:ext uri="{FF2B5EF4-FFF2-40B4-BE49-F238E27FC236}">
                <a16:creationId xmlns:a16="http://schemas.microsoft.com/office/drawing/2014/main" id="{3C942BEE-2E7E-14AC-BFE1-8B7D4693869F}"/>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29637833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7" name="Rectangle 6">
            <a:extLst>
              <a:ext uri="{FF2B5EF4-FFF2-40B4-BE49-F238E27FC236}">
                <a16:creationId xmlns:a16="http://schemas.microsoft.com/office/drawing/2014/main" id="{6D850327-CBB4-B01C-EE45-7359DAEFA6F7}"/>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8" name="Title 22">
            <a:extLst>
              <a:ext uri="{FF2B5EF4-FFF2-40B4-BE49-F238E27FC236}">
                <a16:creationId xmlns:a16="http://schemas.microsoft.com/office/drawing/2014/main" id="{9997E0C9-49C5-62E7-7F49-39ABB6068FC5}"/>
              </a:ext>
            </a:extLst>
          </p:cNvPr>
          <p:cNvSpPr txBox="1">
            <a:spLocks/>
          </p:cNvSpPr>
          <p:nvPr/>
        </p:nvSpPr>
        <p:spPr>
          <a:xfrm>
            <a:off x="1972970" y="1078100"/>
            <a:ext cx="7412385" cy="184665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marL="0" marR="0" lvl="0" indent="0" algn="r" defTabSz="779173"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t>Q&amp;A SESSION</a:t>
            </a:r>
            <a:b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br>
            <a:endParaRPr kumimoji="0" lang="en-US" sz="5400" b="1" i="0" u="none" strike="noStrike" kern="1200" cap="none" spc="0" normalizeH="0" baseline="0" noProof="0" dirty="0">
              <a:ln>
                <a:noFill/>
              </a:ln>
              <a:solidFill>
                <a:srgbClr val="000000"/>
              </a:solidFill>
              <a:effectLst/>
              <a:uLnTx/>
              <a:uFillTx/>
              <a:latin typeface="Apex New Bold" panose="02010600040501010103" pitchFamily="2" charset="77"/>
              <a:cs typeface="+mj-cs"/>
            </a:endParaRPr>
          </a:p>
        </p:txBody>
      </p:sp>
      <p:sp>
        <p:nvSpPr>
          <p:cNvPr id="9" name="Graphic 64">
            <a:extLst>
              <a:ext uri="{FF2B5EF4-FFF2-40B4-BE49-F238E27FC236}">
                <a16:creationId xmlns:a16="http://schemas.microsoft.com/office/drawing/2014/main" id="{5D4C8408-59E0-D681-222D-216D640F8720}"/>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3120704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a:solidFill>
                  <a:schemeClr val="bg1"/>
                </a:solidFill>
              </a:rPr>
              <a:t>Thank you</a:t>
            </a:r>
            <a:endParaRPr lang="en-US" sz="400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Tree>
    <p:extLst>
      <p:ext uri="{BB962C8B-B14F-4D97-AF65-F5344CB8AC3E}">
        <p14:creationId xmlns:p14="http://schemas.microsoft.com/office/powerpoint/2010/main" val="4250548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1">
            <a:extLst>
              <a:ext uri="{FF2B5EF4-FFF2-40B4-BE49-F238E27FC236}">
                <a16:creationId xmlns:a16="http://schemas.microsoft.com/office/drawing/2014/main" id="{DE0DA2DE-03F7-09AD-73F1-C949E5416CAB}"/>
              </a:ext>
            </a:extLst>
          </p:cNvPr>
          <p:cNvGraphicFramePr>
            <a:graphicFrameLocks noGrp="1"/>
          </p:cNvGraphicFramePr>
          <p:nvPr>
            <p:extLst>
              <p:ext uri="{D42A27DB-BD31-4B8C-83A1-F6EECF244321}">
                <p14:modId xmlns:p14="http://schemas.microsoft.com/office/powerpoint/2010/main" val="757475126"/>
              </p:ext>
            </p:extLst>
          </p:nvPr>
        </p:nvGraphicFramePr>
        <p:xfrm>
          <a:off x="1507897" y="1875799"/>
          <a:ext cx="10439276" cy="4615863"/>
        </p:xfrm>
        <a:graphic>
          <a:graphicData uri="http://schemas.openxmlformats.org/drawingml/2006/table">
            <a:tbl>
              <a:tblPr firstRow="1" bandRow="1">
                <a:tableStyleId>{5C22544A-7EE6-4342-B048-85BDC9FD1C3A}</a:tableStyleId>
              </a:tblPr>
              <a:tblGrid>
                <a:gridCol w="636710">
                  <a:extLst>
                    <a:ext uri="{9D8B030D-6E8A-4147-A177-3AD203B41FA5}">
                      <a16:colId xmlns:a16="http://schemas.microsoft.com/office/drawing/2014/main" val="2208968794"/>
                    </a:ext>
                  </a:extLst>
                </a:gridCol>
                <a:gridCol w="3342465">
                  <a:extLst>
                    <a:ext uri="{9D8B030D-6E8A-4147-A177-3AD203B41FA5}">
                      <a16:colId xmlns:a16="http://schemas.microsoft.com/office/drawing/2014/main" val="1314826358"/>
                    </a:ext>
                  </a:extLst>
                </a:gridCol>
                <a:gridCol w="3847640">
                  <a:extLst>
                    <a:ext uri="{9D8B030D-6E8A-4147-A177-3AD203B41FA5}">
                      <a16:colId xmlns:a16="http://schemas.microsoft.com/office/drawing/2014/main" val="1801552601"/>
                    </a:ext>
                  </a:extLst>
                </a:gridCol>
                <a:gridCol w="2612461">
                  <a:extLst>
                    <a:ext uri="{9D8B030D-6E8A-4147-A177-3AD203B41FA5}">
                      <a16:colId xmlns:a16="http://schemas.microsoft.com/office/drawing/2014/main" val="1153813624"/>
                    </a:ext>
                  </a:extLst>
                </a:gridCol>
              </a:tblGrid>
              <a:tr h="659409">
                <a:tc>
                  <a:txBody>
                    <a:bodyPr/>
                    <a:lstStyle/>
                    <a:p>
                      <a:r>
                        <a:rPr lang="en-US" sz="1800" b="1" i="0" dirty="0">
                          <a:solidFill>
                            <a:schemeClr val="tx1">
                              <a:lumMod val="75000"/>
                              <a:lumOff val="25000"/>
                            </a:schemeClr>
                          </a:solidFill>
                          <a:latin typeface="Apex New Heavy" panose="02010600040501010103" pitchFamily="2" charset="77"/>
                          <a:ea typeface="Apex New Heavy" panose="02010600040501010103" pitchFamily="2" charset="77"/>
                        </a:rPr>
                        <a:t>01</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Procurement</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Nhlanhla Caluza</a:t>
                      </a:r>
                      <a:endParaRPr lang="en-US" sz="18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51745"/>
                  </a:ext>
                </a:extLst>
              </a:tr>
              <a:tr h="659409">
                <a:tc>
                  <a:txBody>
                    <a:bodyPr/>
                    <a:lstStyle/>
                    <a:p>
                      <a:r>
                        <a:rPr lang="en-US" sz="1800" b="1" i="0" dirty="0">
                          <a:solidFill>
                            <a:schemeClr val="tx1">
                              <a:lumMod val="75000"/>
                              <a:lumOff val="25000"/>
                            </a:schemeClr>
                          </a:solidFill>
                          <a:latin typeface="Apex New Heavy" panose="02010600040501010103" pitchFamily="2" charset="77"/>
                          <a:ea typeface="Apex New Heavy" panose="02010600040501010103" pitchFamily="2" charset="77"/>
                        </a:rPr>
                        <a:t>02</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Procurement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Basetsana Moeng </a:t>
                      </a:r>
                      <a:endParaRPr lang="en-US" sz="18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5142023"/>
                  </a:ext>
                </a:extLst>
              </a:tr>
              <a:tr h="659409">
                <a:tc>
                  <a:txBody>
                    <a:bodyPr/>
                    <a:lstStyle/>
                    <a:p>
                      <a:r>
                        <a:rPr lang="en-ZA" sz="1800" b="1" i="0" dirty="0">
                          <a:solidFill>
                            <a:schemeClr val="tx1">
                              <a:lumMod val="75000"/>
                              <a:lumOff val="25000"/>
                            </a:schemeClr>
                          </a:solidFill>
                          <a:latin typeface="Apex New Heavy" panose="02010600040501010103" pitchFamily="2" charset="77"/>
                          <a:ea typeface="Apex New Heavy" panose="02010600040501010103" pitchFamily="2" charset="77"/>
                        </a:rPr>
                        <a:t>03</a:t>
                      </a:r>
                      <a:endParaRPr lang="en-US" sz="1800" b="1" i="0" dirty="0">
                        <a:solidFill>
                          <a:schemeClr val="tx1">
                            <a:lumMod val="75000"/>
                            <a:lumOff val="25000"/>
                          </a:schemeClr>
                        </a:solidFill>
                        <a:latin typeface="Apex New Heavy" panose="02010600040501010103" pitchFamily="2" charset="77"/>
                        <a:ea typeface="Apex New Heavy"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Procurement</a:t>
                      </a:r>
                      <a:endParaRPr lang="en-US" sz="1800" b="0" i="0" dirty="0">
                        <a:solidFill>
                          <a:schemeClr val="tx1">
                            <a:lumMod val="75000"/>
                            <a:lumOff val="25000"/>
                          </a:schemeClr>
                        </a:solidFill>
                        <a:latin typeface="Apex New Medium" panose="02010600040501010103" pitchFamily="2" charset="77"/>
                        <a:ea typeface="Apex New Medium"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Sisanda Ngoyiyana </a:t>
                      </a:r>
                      <a:endParaRPr lang="en-US" sz="18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57495"/>
                  </a:ext>
                </a:extLst>
              </a:tr>
              <a:tr h="659409">
                <a:tc>
                  <a:txBody>
                    <a:bodyPr/>
                    <a:lstStyle/>
                    <a:p>
                      <a:r>
                        <a:rPr lang="en-US" sz="1800" b="1" i="0" dirty="0">
                          <a:solidFill>
                            <a:schemeClr val="tx1">
                              <a:lumMod val="75000"/>
                              <a:lumOff val="25000"/>
                            </a:schemeClr>
                          </a:solidFill>
                          <a:latin typeface="Apex New Heavy" panose="02010600040501010103" pitchFamily="2" charset="77"/>
                          <a:ea typeface="Apex New Heavy" panose="02010600040501010103" pitchFamily="2" charset="77"/>
                        </a:rPr>
                        <a:t>04</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P</a:t>
                      </a:r>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eople Management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Dr Christinah Maphanga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5797243"/>
                  </a:ext>
                </a:extLst>
              </a:tr>
              <a:tr h="659409">
                <a:tc>
                  <a:txBody>
                    <a:bodyPr/>
                    <a:lstStyle/>
                    <a:p>
                      <a:r>
                        <a:rPr lang="en-ZA" sz="1800" b="1" i="0" dirty="0">
                          <a:solidFill>
                            <a:schemeClr val="tx1">
                              <a:lumMod val="75000"/>
                              <a:lumOff val="25000"/>
                            </a:schemeClr>
                          </a:solidFill>
                          <a:latin typeface="Apex New Heavy" panose="02010600040501010103" pitchFamily="2" charset="77"/>
                          <a:ea typeface="Apex New Heavy" panose="02010600040501010103" pitchFamily="2" charset="77"/>
                        </a:rPr>
                        <a:t>05</a:t>
                      </a:r>
                      <a:endParaRPr lang="en-US" sz="1800" b="1" i="0" dirty="0">
                        <a:solidFill>
                          <a:schemeClr val="tx1">
                            <a:lumMod val="75000"/>
                            <a:lumOff val="25000"/>
                          </a:schemeClr>
                        </a:solidFill>
                        <a:latin typeface="Apex New Heavy" panose="02010600040501010103" pitchFamily="2" charset="77"/>
                        <a:ea typeface="Apex New Heavy"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7917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Medium" panose="02010600040501010103" pitchFamily="2" charset="77"/>
                          <a:ea typeface="Apex New Medium" panose="02010600040501010103" pitchFamily="2" charset="77"/>
                        </a:rPr>
                        <a:t>P</a:t>
                      </a:r>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eople Management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Zikhona Ramncwana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7976014"/>
                  </a:ext>
                </a:extLst>
              </a:tr>
              <a:tr h="659409">
                <a:tc>
                  <a:txBody>
                    <a:bodyPr/>
                    <a:lstStyle/>
                    <a:p>
                      <a:r>
                        <a:rPr lang="en-ZA" sz="1800" b="1" i="0" dirty="0">
                          <a:solidFill>
                            <a:schemeClr val="tx1">
                              <a:lumMod val="75000"/>
                              <a:lumOff val="25000"/>
                            </a:schemeClr>
                          </a:solidFill>
                          <a:latin typeface="Apex New Heavy" panose="02010600040501010103" pitchFamily="2" charset="77"/>
                          <a:ea typeface="Apex New Heavy" panose="02010600040501010103" pitchFamily="2" charset="77"/>
                        </a:rPr>
                        <a:t>06</a:t>
                      </a:r>
                      <a:endParaRPr lang="en-US" sz="1800" b="1" i="0" dirty="0">
                        <a:solidFill>
                          <a:schemeClr val="tx1">
                            <a:lumMod val="75000"/>
                            <a:lumOff val="25000"/>
                          </a:schemeClr>
                        </a:solidFill>
                        <a:latin typeface="Apex New Heavy" panose="02010600040501010103" pitchFamily="2" charset="77"/>
                        <a:ea typeface="Apex New Heavy"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People Management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Phiwe Mbana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2492451"/>
                  </a:ext>
                </a:extLst>
              </a:tr>
              <a:tr h="659409">
                <a:tc>
                  <a:txBody>
                    <a:bodyPr/>
                    <a:lstStyle/>
                    <a:p>
                      <a:r>
                        <a:rPr lang="en-ZA" sz="1800" b="1" i="0" dirty="0">
                          <a:solidFill>
                            <a:schemeClr val="tx1">
                              <a:lumMod val="75000"/>
                              <a:lumOff val="25000"/>
                            </a:schemeClr>
                          </a:solidFill>
                          <a:latin typeface="Apex New Heavy" panose="02010600040501010103" pitchFamily="2" charset="77"/>
                          <a:ea typeface="Apex New Heavy" panose="02010600040501010103" pitchFamily="2" charset="77"/>
                        </a:rPr>
                        <a:t>07</a:t>
                      </a:r>
                      <a:endParaRPr lang="en-US" sz="1800" b="1" i="0" dirty="0">
                        <a:solidFill>
                          <a:schemeClr val="tx1">
                            <a:lumMod val="75000"/>
                            <a:lumOff val="25000"/>
                          </a:schemeClr>
                        </a:solidFill>
                        <a:latin typeface="Apex New Heavy" panose="02010600040501010103" pitchFamily="2" charset="77"/>
                        <a:ea typeface="Apex New Heavy"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1">
                              <a:lumMod val="75000"/>
                              <a:lumOff val="25000"/>
                            </a:schemeClr>
                          </a:solidFill>
                          <a:latin typeface="Apex New Medium" panose="02010600040501010103" pitchFamily="2" charset="77"/>
                          <a:ea typeface="Apex New Medium" panose="02010600040501010103" pitchFamily="2" charset="77"/>
                        </a:rPr>
                        <a:t>People Management </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ZA" sz="1800" b="0" i="0" dirty="0">
                          <a:solidFill>
                            <a:schemeClr val="tx1">
                              <a:lumMod val="75000"/>
                              <a:lumOff val="25000"/>
                            </a:schemeClr>
                          </a:solidFill>
                          <a:latin typeface="Apex New Book" panose="02010600040501010103" pitchFamily="2" charset="77"/>
                          <a:ea typeface="Apex New Book" panose="02010600040501010103" pitchFamily="2" charset="77"/>
                        </a:rPr>
                        <a:t>Khanyisile Bhengu</a:t>
                      </a: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sz="2000" b="0" i="0" dirty="0">
                        <a:solidFill>
                          <a:schemeClr val="tx1">
                            <a:lumMod val="75000"/>
                            <a:lumOff val="25000"/>
                          </a:schemeClr>
                        </a:solidFill>
                        <a:latin typeface="Apex New Book" panose="02010600040501010103" pitchFamily="2" charset="77"/>
                        <a:ea typeface="Apex New Book" panose="02010600040501010103" pitchFamily="2" charset="77"/>
                      </a:endParaRPr>
                    </a:p>
                  </a:txBody>
                  <a:tcPr marL="45720" marR="45720" marT="72000" marB="22860">
                    <a:lnL w="12700" cmpd="sng">
                      <a:noFill/>
                    </a:lnL>
                    <a:lnR w="12700" cmpd="sng">
                      <a:noFill/>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0170753"/>
                  </a:ext>
                </a:extLst>
              </a:tr>
            </a:tbl>
          </a:graphicData>
        </a:graphic>
      </p:graphicFrame>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130" name="Text Placeholder 129">
            <a:extLst>
              <a:ext uri="{FF2B5EF4-FFF2-40B4-BE49-F238E27FC236}">
                <a16:creationId xmlns:a16="http://schemas.microsoft.com/office/drawing/2014/main" id="{EF382210-A450-6F80-3314-8A2842F91CA5}"/>
              </a:ext>
            </a:extLst>
          </p:cNvPr>
          <p:cNvSpPr>
            <a:spLocks noGrp="1"/>
          </p:cNvSpPr>
          <p:nvPr>
            <p:ph type="body" sz="quarter" idx="16"/>
          </p:nvPr>
        </p:nvSpPr>
        <p:spPr/>
        <p:txBody>
          <a:bodyPr/>
          <a:lstStyle/>
          <a:p>
            <a:r>
              <a:rPr lang="en-US" dirty="0">
                <a:solidFill>
                  <a:schemeClr val="tx1">
                    <a:lumMod val="75000"/>
                    <a:lumOff val="25000"/>
                  </a:schemeClr>
                </a:solidFill>
              </a:rPr>
              <a:t>Team Introductions</a:t>
            </a:r>
          </a:p>
        </p:txBody>
      </p:sp>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a:xfrm>
            <a:off x="288000" y="106234"/>
            <a:ext cx="10079725" cy="461665"/>
          </a:xfrm>
        </p:spPr>
        <p:txBody>
          <a:bodyPr/>
          <a:lstStyle/>
          <a:p>
            <a:r>
              <a:rPr lang="en-US" sz="2400" dirty="0"/>
              <a:t>WELCOME</a:t>
            </a:r>
          </a:p>
        </p:txBody>
      </p:sp>
      <p:sp>
        <p:nvSpPr>
          <p:cNvPr id="9" name="Freeform 8">
            <a:extLst>
              <a:ext uri="{FF2B5EF4-FFF2-40B4-BE49-F238E27FC236}">
                <a16:creationId xmlns:a16="http://schemas.microsoft.com/office/drawing/2014/main" id="{8F916133-BAB0-4E18-8CDD-4D070D9292DA}"/>
              </a:ext>
            </a:extLst>
          </p:cNvPr>
          <p:cNvSpPr/>
          <p:nvPr/>
        </p:nvSpPr>
        <p:spPr>
          <a:xfrm>
            <a:off x="7282543" y="-3175"/>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4</a:t>
            </a:fld>
            <a:endParaRPr lang="en-ZA" sz="767" b="1">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378339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2E17EB3B-AC77-6E96-0739-5E450CEDB13F}"/>
              </a:ext>
            </a:extLst>
          </p:cNvPr>
          <p:cNvSpPr>
            <a:spLocks noGrp="1"/>
          </p:cNvSpPr>
          <p:nvPr>
            <p:ph type="body" sz="quarter" idx="17"/>
          </p:nvPr>
        </p:nvSpPr>
        <p:spPr>
          <a:xfrm>
            <a:off x="283474" y="1092200"/>
            <a:ext cx="11171926" cy="5384800"/>
          </a:xfrm>
        </p:spPr>
        <p:txBody>
          <a:bodyPr/>
          <a:lstStyle/>
          <a:p>
            <a:pPr marL="285750" indent="-285750">
              <a:buFont typeface="Wingdings" panose="05000000000000000000" pitchFamily="2" charset="2"/>
              <a:buChar char="§"/>
            </a:pPr>
            <a:r>
              <a:rPr lang="en-US" dirty="0"/>
              <a:t>This briefing session is non-compulsory.</a:t>
            </a:r>
          </a:p>
          <a:p>
            <a:pPr marL="285750" indent="-285750">
              <a:buFont typeface="Wingdings" panose="05000000000000000000" pitchFamily="2" charset="2"/>
              <a:buChar char="§"/>
            </a:pPr>
            <a:r>
              <a:rPr lang="en-US" dirty="0"/>
              <a:t>An approximate time allocation of 1 hour  has been catered for, the session could end sooner or later, depending on the volumes of clarification questions.</a:t>
            </a:r>
          </a:p>
          <a:p>
            <a:pPr marL="285750" indent="-285750">
              <a:buFont typeface="Wingdings" panose="05000000000000000000" pitchFamily="2" charset="2"/>
              <a:buChar char="§"/>
            </a:pPr>
            <a:r>
              <a:rPr lang="en-US" dirty="0"/>
              <a:t>An opportunity for Clarification questions and answers will be provided after each briefing category.</a:t>
            </a:r>
          </a:p>
          <a:p>
            <a:pPr marL="285750" indent="-285750">
              <a:buFont typeface="Wingdings" panose="05000000000000000000" pitchFamily="2" charset="2"/>
              <a:buChar char="§"/>
            </a:pPr>
            <a:r>
              <a:rPr lang="en-US" dirty="0"/>
              <a:t>All questions will be recorded, and the answers will be consolidated and forwarded to all bidders whose attendance has been confirmed by Transnet. The aim is to provide the consolidated response within 48 hours after the session. Any additional clarification questions hereafter will only be accepted by Transnet until </a:t>
            </a:r>
            <a:r>
              <a:rPr lang="en-US" b="1" dirty="0"/>
              <a:t>12h00 on 22 April 2025.</a:t>
            </a:r>
          </a:p>
          <a:p>
            <a:pPr marL="285750" indent="-285750">
              <a:buFont typeface="Wingdings" panose="05000000000000000000" pitchFamily="2" charset="2"/>
              <a:buChar char="§"/>
            </a:pPr>
            <a:r>
              <a:rPr lang="en-US" dirty="0"/>
              <a:t>Response to clarification questions will be provided to bidders via email.</a:t>
            </a:r>
          </a:p>
          <a:p>
            <a:pPr marL="285750" indent="-285750">
              <a:buFont typeface="Wingdings" panose="05000000000000000000" pitchFamily="2" charset="2"/>
              <a:buChar char="§"/>
            </a:pPr>
            <a:r>
              <a:rPr lang="en-US" dirty="0"/>
              <a:t>All communication subsequent to this briefing session, before the closing date and time, must only be directed to the </a:t>
            </a:r>
            <a:r>
              <a:rPr lang="en-US" dirty="0">
                <a:solidFill>
                  <a:srgbClr val="0070C0"/>
                </a:solidFill>
                <a:hlinkClick r:id="rId2"/>
              </a:rPr>
              <a:t>Nhlanhla.Caluza@transnet.net</a:t>
            </a:r>
            <a:r>
              <a:rPr lang="en-US" dirty="0">
                <a:solidFill>
                  <a:srgbClr val="0070C0"/>
                </a:solidFill>
              </a:rPr>
              <a:t> </a:t>
            </a:r>
            <a:endParaRPr lang="en-US" dirty="0"/>
          </a:p>
          <a:p>
            <a:pPr marL="285750" indent="-285750">
              <a:buFont typeface="Wingdings" panose="05000000000000000000" pitchFamily="2" charset="2"/>
              <a:buChar char="§"/>
            </a:pPr>
            <a:r>
              <a:rPr lang="en-US" dirty="0"/>
              <a:t>A copy of this presentation will be provided to all bidders who attended the meeting.</a:t>
            </a:r>
          </a:p>
          <a:p>
            <a:endParaRPr lang="en-US" dirty="0"/>
          </a:p>
        </p:txBody>
      </p:sp>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8000" y="108000"/>
            <a:ext cx="10079725" cy="461665"/>
          </a:xfrm>
        </p:spPr>
        <p:txBody>
          <a:bodyPr/>
          <a:lstStyle/>
          <a:p>
            <a:r>
              <a:rPr lang="en-US" dirty="0"/>
              <a:t>RULES OF ENGAGEMENT</a:t>
            </a:r>
          </a:p>
        </p:txBody>
      </p:sp>
    </p:spTree>
    <p:extLst>
      <p:ext uri="{BB962C8B-B14F-4D97-AF65-F5344CB8AC3E}">
        <p14:creationId xmlns:p14="http://schemas.microsoft.com/office/powerpoint/2010/main" val="2986857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144A73-2DAE-AB2F-2F0B-39870082861C}"/>
              </a:ext>
            </a:extLst>
          </p:cNvPr>
          <p:cNvSpPr/>
          <p:nvPr/>
        </p:nvSpPr>
        <p:spPr>
          <a:xfrm>
            <a:off x="0" y="0"/>
            <a:ext cx="12192000" cy="6858000"/>
          </a:xfrm>
          <a:prstGeom prst="rect">
            <a:avLst/>
          </a:prstGeom>
          <a:solidFill>
            <a:schemeClr val="bg1">
              <a:lumMod val="95000"/>
              <a:alpha val="36789"/>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pic>
        <p:nvPicPr>
          <p:cNvPr id="7" name="Picture 6">
            <a:extLst>
              <a:ext uri="{FF2B5EF4-FFF2-40B4-BE49-F238E27FC236}">
                <a16:creationId xmlns:a16="http://schemas.microsoft.com/office/drawing/2014/main" id="{A9843402-A652-0626-A8DB-22E4421DA7E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1" name="Rectangle 10">
            <a:extLst>
              <a:ext uri="{FF2B5EF4-FFF2-40B4-BE49-F238E27FC236}">
                <a16:creationId xmlns:a16="http://schemas.microsoft.com/office/drawing/2014/main" id="{9147DA75-11F3-21A7-439B-A9A58DD6043E}"/>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12" name="Title 22">
            <a:extLst>
              <a:ext uri="{FF2B5EF4-FFF2-40B4-BE49-F238E27FC236}">
                <a16:creationId xmlns:a16="http://schemas.microsoft.com/office/drawing/2014/main" id="{0A6FB4BF-AB9E-8682-B190-3EBAA254CFEF}"/>
              </a:ext>
            </a:extLst>
          </p:cNvPr>
          <p:cNvSpPr txBox="1">
            <a:spLocks/>
          </p:cNvSpPr>
          <p:nvPr/>
        </p:nvSpPr>
        <p:spPr>
          <a:xfrm>
            <a:off x="1272540" y="1078100"/>
            <a:ext cx="8112815" cy="2769989"/>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marL="0" marR="0" lvl="0" indent="0" algn="r" defTabSz="779173"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t>Overview of the Tender </a:t>
            </a:r>
            <a:b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br>
            <a: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t>&amp; Scope of Services</a:t>
            </a:r>
            <a:br>
              <a:rPr kumimoji="0" lang="en-US" sz="6000" b="1" i="0" u="none" strike="noStrike" kern="1200" cap="none" spc="0" normalizeH="0" baseline="0" noProof="0" dirty="0">
                <a:ln>
                  <a:noFill/>
                </a:ln>
                <a:solidFill>
                  <a:srgbClr val="FFFFFF"/>
                </a:solidFill>
                <a:effectLst/>
                <a:uLnTx/>
                <a:uFillTx/>
                <a:latin typeface="Apex New Bold" panose="02010600040501010103" pitchFamily="2" charset="77"/>
                <a:cs typeface="+mj-cs"/>
              </a:rPr>
            </a:br>
            <a:endParaRPr kumimoji="0" lang="en-US" sz="5400" b="1" i="0" u="none" strike="noStrike" kern="1200" cap="none" spc="0" normalizeH="0" baseline="0" noProof="0" dirty="0">
              <a:ln>
                <a:noFill/>
              </a:ln>
              <a:solidFill>
                <a:srgbClr val="000000"/>
              </a:solidFill>
              <a:effectLst/>
              <a:uLnTx/>
              <a:uFillTx/>
              <a:latin typeface="Apex New Bold" panose="02010600040501010103" pitchFamily="2" charset="77"/>
              <a:cs typeface="+mj-cs"/>
            </a:endParaRPr>
          </a:p>
        </p:txBody>
      </p:sp>
      <p:sp>
        <p:nvSpPr>
          <p:cNvPr id="14" name="Graphic 64">
            <a:extLst>
              <a:ext uri="{FF2B5EF4-FFF2-40B4-BE49-F238E27FC236}">
                <a16:creationId xmlns:a16="http://schemas.microsoft.com/office/drawing/2014/main" id="{03280E3C-DA8E-239A-828F-1D1354B46CD2}"/>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3276683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424251" y="957227"/>
            <a:ext cx="10960992" cy="5260479"/>
          </a:xfrm>
          <a:prstGeom prst="rect">
            <a:avLst/>
          </a:prstGeom>
          <a:noFill/>
        </p:spPr>
        <p:txBody>
          <a:bodyPr wrap="square">
            <a:spAutoFit/>
          </a:bodyPr>
          <a:lstStyle/>
          <a:p>
            <a:pPr marL="342900" marR="0" lvl="0" indent="-342900">
              <a:lnSpc>
                <a:spcPct val="150000"/>
              </a:lnSpc>
              <a:spcBef>
                <a:spcPts val="1200"/>
              </a:spcBef>
              <a:spcAft>
                <a:spcPts val="0"/>
              </a:spcAft>
              <a:buFont typeface="+mj-lt"/>
              <a:buAutoNum type="arabicPeriod"/>
              <a:tabLst>
                <a:tab pos="360045" algn="l"/>
              </a:tabLst>
            </a:pPr>
            <a:r>
              <a:rPr lang="en-GB" sz="1000" b="1" kern="1600" cap="all" dirty="0">
                <a:effectLst/>
                <a:latin typeface="Tahoma" panose="020B0604030504040204" pitchFamily="34" charset="0"/>
                <a:cs typeface="Times New Roman" panose="02020603050405020304" pitchFamily="18" charset="0"/>
              </a:rPr>
              <a:t>BACKGROUND</a:t>
            </a:r>
            <a:endParaRPr lang="en-US" sz="1000" b="1" kern="1600" cap="all" dirty="0">
              <a:effectLst/>
              <a:latin typeface="Tahoma" panose="020B0604030504040204" pitchFamily="34" charset="0"/>
              <a:cs typeface="Times New Roman" panose="02020603050405020304" pitchFamily="18" charset="0"/>
            </a:endParaRPr>
          </a:p>
          <a:p>
            <a:pPr marL="0" marR="0" algn="just">
              <a:lnSpc>
                <a:spcPct val="115000"/>
              </a:lnSpc>
              <a:spcBef>
                <a:spcPts val="0"/>
              </a:spcBef>
              <a:spcAft>
                <a:spcPts val="0"/>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Employee Assistance Programs (EAPs) is a short-term and voluntary work-based intervention, offered by employers as an employee benefit to provide support for employees who are experiencing life challenges or stressors that may impact their psycho-social functioning and productivity. EAP programs are designed to deal with many issues that confront modern-day employees like high-stress levels, economic challenges, personal and mental health issues that may negatively affect health, absenteeism, and productivity. EAP programs include counselling services to help employees overcome the negative effects of these challenges and are also equipped to provide preventive services and health promotion.</a:t>
            </a:r>
          </a:p>
          <a:p>
            <a:pPr marL="0" marR="0" algn="just">
              <a:lnSpc>
                <a:spcPct val="115000"/>
              </a:lnSpc>
              <a:spcBef>
                <a:spcPts val="0"/>
              </a:spcBef>
              <a:spcAft>
                <a:spcPts val="0"/>
              </a:spcAft>
            </a:pP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0"/>
              </a:spcBef>
              <a:spcAft>
                <a:spcPts val="0"/>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Transnet recognizes that personal, professional, and environmental stressors if detected early, can prevent, or alleviate poor performance, accidents, and absenteeism. (EAPs) are crucial in today's workplace due to high-stress levels, economic challenges, and personal and mental health issues. EAPs address workplace stress, interpersonal relationships, organizational culture, financial stress, increased pressure, and mental health disorders. EAP service offerings include counselling, confidential assessments, and referrals for stress, anxiety, depression, substance abuse, and family problems. They improve productivity, reduce absenteeism and turnover, and create a supportive work environment. EAPs also reduce stigma associated with mental health and offer holistic support services beyond traditional counselling. Implementing a robust EAP can significantly enhance employee well-being, leading to a healthier, productive, and harmonious workplace. Modern EAPs operate by developing effective communication strategies, coaching and development, team alignment and conflict resolution, crisis management, comprehensive support services, work-life balance, and enhancing organizational culture. They contribute to building resilience, promoting well-being, and contributing to a positive organizational culture.</a:t>
            </a:r>
          </a:p>
          <a:p>
            <a:pPr marL="0" marR="0" algn="just">
              <a:lnSpc>
                <a:spcPct val="115000"/>
              </a:lnSpc>
              <a:spcBef>
                <a:spcPts val="0"/>
              </a:spcBef>
              <a:spcAft>
                <a:spcPts val="0"/>
              </a:spcAft>
            </a:pP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0"/>
              </a:spcBef>
              <a:spcAft>
                <a:spcPts val="0"/>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Implementing a modern EAP can significantly enhance organizational effectiveness, improve employee well-being, and create a supportive and resilient workplace. The post-global pandemic has also forced profound changes in our employees’ personal and professional lives and will continue to test our capacities to relate in unprecedented ways. Employees are confronted with high debts due to the weak economy, social isolation, speed of change, interface with technology and mental health issues. Given the current challenges, a proactive and interdisciplinary approach must be adopted, that is geared towards addressing emerging health and wellness needs. To this end, the company has implemented an EAP, that seeks to address personal and work-related issues. The aim is to empower employees with requisite life and other skills to cope with difficult life challenges and work-related stressors so that work performance is not compromised. The EAP also assists Managers in their duty of care and performance management and provides support to enhance their managerial capacity to manage challenged employees.</a:t>
            </a:r>
          </a:p>
          <a:p>
            <a:pPr marL="0" marR="0" algn="just">
              <a:lnSpc>
                <a:spcPct val="115000"/>
              </a:lnSpc>
              <a:spcBef>
                <a:spcPts val="0"/>
              </a:spcBef>
              <a:spcAft>
                <a:spcPts val="0"/>
              </a:spcAft>
            </a:pP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0"/>
              </a:spcBef>
              <a:spcAft>
                <a:spcPts val="0"/>
              </a:spcAft>
            </a:pPr>
            <a:r>
              <a:rPr lang="en-US" sz="1000" b="1" dirty="0">
                <a:effectLst/>
                <a:latin typeface="Tahoma" panose="020B0604030504040204" pitchFamily="34" charset="0"/>
                <a:ea typeface="Times New Roman" panose="02020603050405020304" pitchFamily="18" charset="0"/>
                <a:cs typeface="Times New Roman" panose="02020603050405020304" pitchFamily="18" charset="0"/>
              </a:rPr>
              <a:t>The scope of work which is listed below is cater for Employee Assistance Programme (EAP) for approximately 55 000 Transnet employees and their dependent family members.</a:t>
            </a:r>
          </a:p>
          <a:p>
            <a:pPr marL="0" marR="0" algn="just">
              <a:lnSpc>
                <a:spcPct val="115000"/>
              </a:lnSpc>
              <a:spcBef>
                <a:spcPts val="0"/>
              </a:spcBef>
              <a:spcAft>
                <a:spcPts val="0"/>
              </a:spcAft>
            </a:pPr>
            <a:endParaRPr lang="en-US" sz="1000" dirty="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15000"/>
              </a:lnSpc>
              <a:spcBef>
                <a:spcPts val="0"/>
              </a:spcBef>
              <a:spcAft>
                <a:spcPts val="0"/>
              </a:spcAft>
            </a:pPr>
            <a:r>
              <a:rPr lang="en-US" sz="1000" dirty="0">
                <a:effectLst/>
                <a:latin typeface="Tahoma" panose="020B0604030504040204" pitchFamily="34" charset="0"/>
                <a:ea typeface="Times New Roman" panose="02020603050405020304" pitchFamily="18" charset="0"/>
                <a:cs typeface="Times New Roman" panose="02020603050405020304" pitchFamily="18" charset="0"/>
              </a:rPr>
              <a:t>Transnet seeks to appoint a service provider to render a world-class and innovative EAP, which will adhere to the quality, standards, and norms of the industry in line with regularity standards ethics, clinical standards and protocols in an evolving and flexible manner. The service provider should also be able to deliver this programme in 12 official languages endorsed in South Africa. Transnet employees and their dependents must be able to access virtual services from wherever they may be located including outside of South Africa. The service provider needs to have national footprint which will cater for Transnet in all operational areas . This should include the capability to provide face-to-face counselling in all areas including remote areas like (Sishen, Carolina, Ulundi, etc.).</a:t>
            </a:r>
          </a:p>
        </p:txBody>
      </p:sp>
    </p:spTree>
    <p:extLst>
      <p:ext uri="{BB962C8B-B14F-4D97-AF65-F5344CB8AC3E}">
        <p14:creationId xmlns:p14="http://schemas.microsoft.com/office/powerpoint/2010/main" val="591069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08000"/>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375291" y="783195"/>
            <a:ext cx="11058911" cy="6074805"/>
          </a:xfrm>
          <a:prstGeom prst="rect">
            <a:avLst/>
          </a:prstGeom>
          <a:noFill/>
        </p:spPr>
        <p:txBody>
          <a:bodyPr wrap="square">
            <a:spAutoFit/>
          </a:bodyPr>
          <a:lstStyle/>
          <a:p>
            <a:pPr marL="285750" marR="27305" indent="-285750">
              <a:spcAft>
                <a:spcPts val="835"/>
              </a:spcAft>
              <a:buFont typeface="+mj-lt"/>
              <a:buAutoNum type="arabicPeriod"/>
            </a:pPr>
            <a:r>
              <a:rPr lang="en-US" sz="1000" b="1" kern="100" dirty="0">
                <a:effectLst/>
                <a:ea typeface="Calibri" panose="020F0502020204030204" pitchFamily="34" charset="0"/>
                <a:cs typeface="Arial" panose="020B0604020202020204" pitchFamily="34" charset="0"/>
              </a:rPr>
              <a:t>The service provider will render services across all six Core Operating Divisions (ODs) of Transnet: </a:t>
            </a: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Transnet Port Terminals (TPT).</a:t>
            </a:r>
            <a:endParaRPr lang="en-US" sz="1000" kern="1600" dirty="0">
              <a:effectLst/>
              <a:cs typeface="Times New Roman" panose="02020603050405020304" pitchFamily="18" charset="0"/>
            </a:endParaRP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Transnet National Ports Authority (TNPA).</a:t>
            </a:r>
            <a:endParaRPr lang="en-US" sz="1000" kern="1600" dirty="0">
              <a:effectLst/>
              <a:cs typeface="Times New Roman" panose="02020603050405020304" pitchFamily="18" charset="0"/>
            </a:endParaRP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Transnet Engineering (TE).</a:t>
            </a:r>
            <a:endParaRPr lang="en-US" sz="1000" kern="1600" dirty="0">
              <a:effectLst/>
              <a:cs typeface="Times New Roman" panose="02020603050405020304" pitchFamily="18" charset="0"/>
            </a:endParaRP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Transnet Freight Rail (TFR) TFROG and TRIPM.</a:t>
            </a:r>
            <a:endParaRPr lang="en-US" sz="1000" kern="1600" dirty="0">
              <a:effectLst/>
              <a:cs typeface="Times New Roman" panose="02020603050405020304" pitchFamily="18" charset="0"/>
            </a:endParaRP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Transnet Pipelines (TPL).</a:t>
            </a:r>
            <a:endParaRPr lang="en-US" sz="1000" kern="1600" dirty="0">
              <a:effectLst/>
              <a:cs typeface="Times New Roman" panose="02020603050405020304" pitchFamily="18" charset="0"/>
            </a:endParaRP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Transnet Property (TP).</a:t>
            </a:r>
            <a:endParaRPr lang="en-US" sz="1000" kern="1600" dirty="0">
              <a:cs typeface="Times New Roman" panose="02020603050405020304" pitchFamily="18" charset="0"/>
            </a:endParaRPr>
          </a:p>
          <a:p>
            <a:pPr marL="685800" lvl="1" indent="-228600" algn="just">
              <a:spcBef>
                <a:spcPts val="300"/>
              </a:spcBef>
              <a:buFont typeface="+mj-lt"/>
              <a:buAutoNum type="arabicPeriod"/>
              <a:tabLst>
                <a:tab pos="1080135" algn="l"/>
                <a:tab pos="575945" algn="l"/>
              </a:tabLst>
            </a:pPr>
            <a:r>
              <a:rPr lang="en-GB" sz="1000" kern="1600" dirty="0">
                <a:effectLst/>
                <a:cs typeface="Times New Roman" panose="02020603050405020304" pitchFamily="18" charset="0"/>
              </a:rPr>
              <a:t>As well as all Transnet Support units, including but not limited to Transnet Corporate Centre (TCC) and Transnet Academy. </a:t>
            </a:r>
            <a:endParaRPr lang="en-US" sz="1000" kern="100" dirty="0">
              <a:effectLst/>
              <a:ea typeface="Calibri" panose="020F0502020204030204" pitchFamily="34" charset="0"/>
              <a:cs typeface="Arial" panose="020B0604020202020204" pitchFamily="34" charset="0"/>
            </a:endParaRPr>
          </a:p>
          <a:p>
            <a:pPr marR="27305">
              <a:lnSpc>
                <a:spcPct val="200000"/>
              </a:lnSpc>
              <a:spcAft>
                <a:spcPts val="835"/>
              </a:spcAft>
            </a:pPr>
            <a:r>
              <a:rPr lang="en-US" sz="1000" b="1" kern="100" dirty="0">
                <a:ea typeface="Calibri" panose="020F0502020204030204" pitchFamily="34" charset="0"/>
                <a:cs typeface="Arial" panose="020B0604020202020204" pitchFamily="34" charset="0"/>
              </a:rPr>
              <a:t>2.  Transnet </a:t>
            </a:r>
            <a:r>
              <a:rPr lang="en-US" sz="1000" b="1" kern="100" dirty="0">
                <a:effectLst/>
                <a:ea typeface="Calibri" panose="020F0502020204030204" pitchFamily="34" charset="0"/>
                <a:cs typeface="Arial" panose="020B0604020202020204" pitchFamily="34" charset="0"/>
              </a:rPr>
              <a:t>requires to implement the following:</a:t>
            </a:r>
          </a:p>
          <a:p>
            <a:pPr marL="685800" lvl="1" indent="-228600" algn="just">
              <a:spcBef>
                <a:spcPts val="300"/>
              </a:spcBef>
              <a:buFont typeface="+mj-lt"/>
              <a:buAutoNum type="alphaLcParenR"/>
              <a:tabLst>
                <a:tab pos="1080135" algn="l"/>
                <a:tab pos="575945" algn="l"/>
              </a:tabLst>
            </a:pPr>
            <a:r>
              <a:rPr lang="en-GB" sz="1000" kern="1600" dirty="0">
                <a:effectLst/>
                <a:cs typeface="Times New Roman" panose="02020603050405020304" pitchFamily="18" charset="0"/>
              </a:rPr>
              <a:t>An EAP that is beyond the basic standards of a typical EAP programme i.e.</a:t>
            </a:r>
            <a:endParaRPr lang="en-US" sz="1000" kern="1600" dirty="0">
              <a:effectLst/>
              <a:cs typeface="Times New Roman" panose="02020603050405020304" pitchFamily="18" charset="0"/>
            </a:endParaRPr>
          </a:p>
          <a:p>
            <a:pPr marL="1085850" lvl="2" indent="-171450" algn="just">
              <a:spcBef>
                <a:spcPts val="600"/>
              </a:spcBef>
              <a:buFont typeface="Wingdings" panose="05000000000000000000" pitchFamily="2" charset="2"/>
              <a:buChar char="q"/>
            </a:pPr>
            <a:r>
              <a:rPr lang="en-GB" sz="1000" dirty="0">
                <a:effectLst/>
                <a:ea typeface="Times New Roman" panose="02020603050405020304" pitchFamily="18" charset="0"/>
                <a:cs typeface="Times New Roman" panose="02020603050405020304" pitchFamily="18" charset="0"/>
              </a:rPr>
              <a:t>Counselling &amp; debriefing Services</a:t>
            </a:r>
            <a:endParaRPr lang="en-US" sz="1000" dirty="0">
              <a:effectLst/>
              <a:ea typeface="Times New Roman" panose="02020603050405020304" pitchFamily="18" charset="0"/>
              <a:cs typeface="Times New Roman" panose="02020603050405020304" pitchFamily="18" charset="0"/>
            </a:endParaRPr>
          </a:p>
          <a:p>
            <a:pPr marL="1085850" lvl="2" indent="-171450" algn="just">
              <a:spcBef>
                <a:spcPts val="600"/>
              </a:spcBef>
              <a:buFont typeface="Wingdings" panose="05000000000000000000" pitchFamily="2" charset="2"/>
              <a:buChar char="q"/>
            </a:pPr>
            <a:r>
              <a:rPr lang="en-GB" sz="1000" dirty="0">
                <a:effectLst/>
                <a:ea typeface="Times New Roman" panose="02020603050405020304" pitchFamily="18" charset="0"/>
                <a:cs typeface="Times New Roman" panose="02020603050405020304" pitchFamily="18" charset="0"/>
              </a:rPr>
              <a:t>Education, Awareness &amp; Training</a:t>
            </a:r>
            <a:endParaRPr lang="en-US" sz="1000" dirty="0">
              <a:effectLst/>
              <a:ea typeface="Times New Roman" panose="02020603050405020304" pitchFamily="18" charset="0"/>
              <a:cs typeface="Times New Roman" panose="02020603050405020304" pitchFamily="18" charset="0"/>
            </a:endParaRPr>
          </a:p>
          <a:p>
            <a:pPr marL="1085850" lvl="2" indent="-171450" algn="just">
              <a:spcBef>
                <a:spcPts val="600"/>
              </a:spcBef>
              <a:buFont typeface="Wingdings" panose="05000000000000000000" pitchFamily="2" charset="2"/>
              <a:buChar char="q"/>
            </a:pPr>
            <a:r>
              <a:rPr lang="en-GB" sz="1000" dirty="0">
                <a:effectLst/>
                <a:ea typeface="Times New Roman" panose="02020603050405020304" pitchFamily="18" charset="0"/>
                <a:cs typeface="Times New Roman" panose="02020603050405020304" pitchFamily="18" charset="0"/>
              </a:rPr>
              <a:t>Marketing &amp; Communication</a:t>
            </a:r>
            <a:endParaRPr lang="en-US" sz="1000" dirty="0">
              <a:effectLst/>
              <a:ea typeface="Times New Roman" panose="02020603050405020304" pitchFamily="18" charset="0"/>
              <a:cs typeface="Times New Roman" panose="02020603050405020304" pitchFamily="18" charset="0"/>
            </a:endParaRPr>
          </a:p>
          <a:p>
            <a:pPr marL="685800" lvl="1" indent="-228600" algn="just">
              <a:spcBef>
                <a:spcPts val="600"/>
              </a:spcBef>
              <a:buAutoNum type="alphaLcParenR" startAt="2"/>
            </a:pPr>
            <a:r>
              <a:rPr lang="en-GB" sz="1000" dirty="0">
                <a:effectLst/>
                <a:ea typeface="Times New Roman" panose="02020603050405020304" pitchFamily="18" charset="0"/>
                <a:cs typeface="Times New Roman" panose="02020603050405020304" pitchFamily="18" charset="0"/>
              </a:rPr>
              <a:t>Organizational services consultation Services</a:t>
            </a:r>
            <a:endParaRPr lang="en-US" sz="1000" dirty="0">
              <a:effectLst/>
              <a:ea typeface="Times New Roman" panose="02020603050405020304" pitchFamily="18" charset="0"/>
              <a:cs typeface="Times New Roman" panose="02020603050405020304" pitchFamily="18" charset="0"/>
            </a:endParaRPr>
          </a:p>
          <a:p>
            <a:pPr marL="0" marR="27305" lvl="1">
              <a:spcBef>
                <a:spcPts val="600"/>
              </a:spcBef>
              <a:spcAft>
                <a:spcPts val="835"/>
              </a:spcAft>
            </a:pPr>
            <a:r>
              <a:rPr lang="en-US" sz="1000" b="1" kern="100" dirty="0">
                <a:cs typeface="Arial" panose="020B0604020202020204" pitchFamily="34" charset="0"/>
              </a:rPr>
              <a:t>3.  Targeted interventions, supported by business intelligence using the following performance metrices:</a:t>
            </a:r>
            <a:endParaRPr lang="en-GB" sz="1000" b="1" kern="1600" dirty="0">
              <a:effectLst/>
              <a:cs typeface="Times New Roman" panose="02020603050405020304" pitchFamily="18" charset="0"/>
            </a:endParaRPr>
          </a:p>
          <a:p>
            <a:pPr marL="1143000" marR="0" lvl="2" indent="-228600" algn="just">
              <a:spcBef>
                <a:spcPts val="300"/>
              </a:spcBef>
              <a:spcAft>
                <a:spcPts val="0"/>
              </a:spcAft>
              <a:buFont typeface="+mj-lt"/>
              <a:buAutoNum type="alphaLcParenR"/>
              <a:tabLst>
                <a:tab pos="1080135" algn="l"/>
                <a:tab pos="575945" algn="l"/>
              </a:tabLst>
            </a:pPr>
            <a:r>
              <a:rPr lang="en-GB" sz="1000" kern="1600" dirty="0">
                <a:effectLst/>
                <a:cs typeface="Times New Roman" panose="02020603050405020304" pitchFamily="18" charset="0"/>
              </a:rPr>
              <a:t>Utilization Rate </a:t>
            </a:r>
          </a:p>
          <a:p>
            <a:pPr marL="1143000" marR="0" lvl="2" indent="-228600" algn="just">
              <a:spcBef>
                <a:spcPts val="300"/>
              </a:spcBef>
              <a:spcAft>
                <a:spcPts val="0"/>
              </a:spcAft>
              <a:buFont typeface="+mj-lt"/>
              <a:buAutoNum type="alphaLcParenR"/>
              <a:tabLst>
                <a:tab pos="1080135" algn="l"/>
                <a:tab pos="575945" algn="l"/>
              </a:tabLst>
            </a:pPr>
            <a:r>
              <a:rPr lang="en-GB" sz="1000" kern="1600" dirty="0">
                <a:effectLst/>
                <a:cs typeface="Times New Roman" panose="02020603050405020304" pitchFamily="18" charset="0"/>
              </a:rPr>
              <a:t>Engagement rates </a:t>
            </a:r>
            <a:endParaRPr lang="en-US" sz="1000" kern="1600" dirty="0">
              <a:effectLst/>
              <a:cs typeface="Times New Roman" panose="02020603050405020304" pitchFamily="18" charset="0"/>
            </a:endParaRPr>
          </a:p>
          <a:p>
            <a:pPr marL="1143000" marR="0" lvl="2" indent="-228600" algn="just">
              <a:spcBef>
                <a:spcPts val="300"/>
              </a:spcBef>
              <a:spcAft>
                <a:spcPts val="0"/>
              </a:spcAft>
              <a:buFont typeface="+mj-lt"/>
              <a:buAutoNum type="alphaLcParenR"/>
              <a:tabLst>
                <a:tab pos="1080135" algn="l"/>
                <a:tab pos="575945" algn="l"/>
              </a:tabLst>
            </a:pPr>
            <a:r>
              <a:rPr lang="en-GB" sz="1000" kern="1600" dirty="0">
                <a:effectLst/>
                <a:cs typeface="Times New Roman" panose="02020603050405020304" pitchFamily="18" charset="0"/>
              </a:rPr>
              <a:t>Unplanned absenteeism rate  </a:t>
            </a:r>
            <a:endParaRPr lang="en-US" sz="1000" kern="1600" dirty="0">
              <a:effectLst/>
              <a:cs typeface="Times New Roman" panose="02020603050405020304" pitchFamily="18" charset="0"/>
            </a:endParaRPr>
          </a:p>
          <a:p>
            <a:pPr marL="1143000" marR="0" lvl="2" indent="-228600" algn="just">
              <a:spcBef>
                <a:spcPts val="300"/>
              </a:spcBef>
              <a:spcAft>
                <a:spcPts val="0"/>
              </a:spcAft>
              <a:buFont typeface="+mj-lt"/>
              <a:buAutoNum type="alphaLcParenR"/>
              <a:tabLst>
                <a:tab pos="1080135" algn="l"/>
                <a:tab pos="575945" algn="l"/>
              </a:tabLst>
            </a:pPr>
            <a:r>
              <a:rPr lang="en-GB" sz="1000" kern="1600" dirty="0">
                <a:effectLst/>
                <a:cs typeface="Times New Roman" panose="02020603050405020304" pitchFamily="18" charset="0"/>
              </a:rPr>
              <a:t>Sick absenteeism rate  </a:t>
            </a:r>
            <a:endParaRPr lang="en-US" sz="1000" kern="1600" dirty="0">
              <a:effectLst/>
              <a:cs typeface="Times New Roman" panose="02020603050405020304" pitchFamily="18" charset="0"/>
            </a:endParaRPr>
          </a:p>
          <a:p>
            <a:pPr marL="1143000" marR="0" lvl="2" indent="-228600" algn="just">
              <a:spcBef>
                <a:spcPts val="300"/>
              </a:spcBef>
              <a:spcAft>
                <a:spcPts val="0"/>
              </a:spcAft>
              <a:buFont typeface="+mj-lt"/>
              <a:buAutoNum type="alphaLcParenR"/>
              <a:tabLst>
                <a:tab pos="1080135" algn="l"/>
                <a:tab pos="575945" algn="l"/>
              </a:tabLst>
            </a:pPr>
            <a:r>
              <a:rPr lang="en-GB" sz="1000" kern="1600" dirty="0">
                <a:effectLst/>
                <a:cs typeface="Times New Roman" panose="02020603050405020304" pitchFamily="18" charset="0"/>
              </a:rPr>
              <a:t>Return on investment. </a:t>
            </a:r>
            <a:endParaRPr lang="en-US" sz="1000" kern="1600" dirty="0">
              <a:effectLst/>
              <a:cs typeface="Times New Roman" panose="02020603050405020304" pitchFamily="18" charset="0"/>
            </a:endParaRPr>
          </a:p>
          <a:p>
            <a:pPr marR="27305">
              <a:lnSpc>
                <a:spcPct val="150000"/>
              </a:lnSpc>
              <a:spcAft>
                <a:spcPts val="835"/>
              </a:spcAft>
            </a:pPr>
            <a:r>
              <a:rPr lang="en-US" sz="1000" kern="100" dirty="0">
                <a:cs typeface="Arial" panose="020B0604020202020204" pitchFamily="34" charset="0"/>
              </a:rPr>
              <a:t>4.    An EAP that is aligned to Transnet’s organizational strategy and must be effective, integrated and premised on strong principles of partnerships and accountability. </a:t>
            </a:r>
          </a:p>
          <a:p>
            <a:pPr marR="27305">
              <a:lnSpc>
                <a:spcPct val="107000"/>
              </a:lnSpc>
              <a:spcAft>
                <a:spcPts val="835"/>
              </a:spcAft>
            </a:pPr>
            <a:r>
              <a:rPr lang="en-US" sz="1000" kern="100" dirty="0">
                <a:cs typeface="Arial" panose="020B0604020202020204" pitchFamily="34" charset="0"/>
              </a:rPr>
              <a:t>5.   A programme that is flexible and evolves over time to respond to the changing needs of Transnet.</a:t>
            </a:r>
          </a:p>
          <a:p>
            <a:pPr marR="27305">
              <a:lnSpc>
                <a:spcPct val="107000"/>
              </a:lnSpc>
              <a:spcAft>
                <a:spcPts val="835"/>
              </a:spcAft>
            </a:pPr>
            <a:r>
              <a:rPr lang="en-US" sz="1000" kern="100" dirty="0">
                <a:cs typeface="Arial" panose="020B0604020202020204" pitchFamily="34" charset="0"/>
              </a:rPr>
              <a:t>6.   An EAP programme that can address the emerging health  and wellness risks, health scares and pandemics.</a:t>
            </a:r>
          </a:p>
          <a:p>
            <a:pPr marR="27305">
              <a:lnSpc>
                <a:spcPct val="107000"/>
              </a:lnSpc>
              <a:spcAft>
                <a:spcPts val="835"/>
              </a:spcAft>
            </a:pPr>
            <a:r>
              <a:rPr lang="en-US" sz="1000" kern="100" dirty="0">
                <a:cs typeface="Arial" panose="020B0604020202020204" pitchFamily="34" charset="0"/>
              </a:rPr>
              <a:t>7.   The selected EAP provider should be able to deal with all levels of employees including having a clear plan of servicing employees living with disabilities. </a:t>
            </a:r>
          </a:p>
          <a:p>
            <a:pPr marR="27305">
              <a:lnSpc>
                <a:spcPct val="107000"/>
              </a:lnSpc>
              <a:spcAft>
                <a:spcPts val="835"/>
              </a:spcAft>
            </a:pPr>
            <a:r>
              <a:rPr lang="en-US" sz="1000" kern="100" dirty="0">
                <a:cs typeface="Arial" panose="020B0604020202020204" pitchFamily="34" charset="0"/>
              </a:rPr>
              <a:t>8.   Transnet needs  a service provider which will be  able to provide  debt management services for example debt mediation, reviews, rehabilitation and consolidation.</a:t>
            </a:r>
          </a:p>
          <a:p>
            <a:pPr marR="27305">
              <a:lnSpc>
                <a:spcPct val="107000"/>
              </a:lnSpc>
              <a:spcAft>
                <a:spcPts val="835"/>
              </a:spcAft>
            </a:pPr>
            <a:r>
              <a:rPr lang="en-US" sz="1000" kern="100" dirty="0">
                <a:cs typeface="Arial" panose="020B0604020202020204" pitchFamily="34" charset="0"/>
              </a:rPr>
              <a:t>9.  The </a:t>
            </a:r>
            <a:r>
              <a:rPr lang="en-US" sz="1000" kern="100" dirty="0">
                <a:effectLst/>
                <a:ea typeface="Calibri" panose="020F0502020204030204" pitchFamily="34" charset="0"/>
                <a:cs typeface="Arial" panose="020B0604020202020204" pitchFamily="34" charset="0"/>
              </a:rPr>
              <a:t>programme must be delivered nationally and within the timelines agreed upon depending on the nature of the service as agreed upon.</a:t>
            </a:r>
          </a:p>
        </p:txBody>
      </p:sp>
    </p:spTree>
    <p:extLst>
      <p:ext uri="{BB962C8B-B14F-4D97-AF65-F5344CB8AC3E}">
        <p14:creationId xmlns:p14="http://schemas.microsoft.com/office/powerpoint/2010/main" val="2080538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8000" y="145098"/>
            <a:ext cx="10079725" cy="461665"/>
          </a:xfrm>
        </p:spPr>
        <p:txBody>
          <a:bodyPr/>
          <a:lstStyle/>
          <a:p>
            <a:r>
              <a:rPr lang="en-ZA" dirty="0"/>
              <a:t>SCOPE OF SERVICES &amp; KEY DELIVERABLES</a:t>
            </a:r>
            <a:endParaRPr lang="en-US" dirty="0"/>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0" marR="0" lvl="0" indent="0" algn="l" defTabSz="779173" rtl="0" eaLnBrk="1" fontAlgn="auto" latinLnBrk="0" hangingPunct="1">
              <a:lnSpc>
                <a:spcPct val="150000"/>
              </a:lnSpc>
              <a:spcBef>
                <a:spcPts val="1023"/>
              </a:spcBef>
              <a:spcAft>
                <a:spcPts val="34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ex New Book" panose="02010600040501010103" pitchFamily="2" charset="77"/>
              <a:cs typeface="+mn-cs"/>
            </a:endParaRPr>
          </a:p>
        </p:txBody>
      </p:sp>
      <p:sp>
        <p:nvSpPr>
          <p:cNvPr id="5" name="TextBox 4">
            <a:extLst>
              <a:ext uri="{FF2B5EF4-FFF2-40B4-BE49-F238E27FC236}">
                <a16:creationId xmlns:a16="http://schemas.microsoft.com/office/drawing/2014/main" id="{26DA5E12-6E59-4230-62B4-EEA12FC8C7D1}"/>
              </a:ext>
            </a:extLst>
          </p:cNvPr>
          <p:cNvSpPr txBox="1"/>
          <p:nvPr/>
        </p:nvSpPr>
        <p:spPr>
          <a:xfrm>
            <a:off x="287999" y="874217"/>
            <a:ext cx="11570625" cy="5780493"/>
          </a:xfrm>
          <a:prstGeom prst="rect">
            <a:avLst/>
          </a:prstGeom>
          <a:noFill/>
        </p:spPr>
        <p:txBody>
          <a:bodyPr wrap="square">
            <a:spAutoFit/>
          </a:bodyPr>
          <a:lstStyle/>
          <a:p>
            <a:pPr marL="228600" marR="27305" indent="-228600">
              <a:lnSpc>
                <a:spcPct val="150000"/>
              </a:lnSpc>
              <a:spcAft>
                <a:spcPts val="835"/>
              </a:spcAft>
              <a:buAutoNum type="arabicPeriod" startAt="10"/>
            </a:pPr>
            <a:r>
              <a:rPr lang="en-US" sz="1000" kern="100" dirty="0">
                <a:effectLst/>
                <a:ea typeface="Calibri" panose="020F0502020204030204" pitchFamily="34" charset="0"/>
                <a:cs typeface="Arial" panose="020B0604020202020204" pitchFamily="34" charset="0"/>
              </a:rPr>
              <a:t>The  service  provider must advance  digital technology, however, should also be able to engage in physical sessions when required.</a:t>
            </a:r>
          </a:p>
          <a:p>
            <a:pPr marL="228600" marR="27305" indent="-228600">
              <a:lnSpc>
                <a:spcPct val="150000"/>
              </a:lnSpc>
              <a:spcAft>
                <a:spcPts val="835"/>
              </a:spcAft>
              <a:buAutoNum type="arabicPeriod" startAt="10"/>
            </a:pPr>
            <a:r>
              <a:rPr lang="en-US" sz="1000" kern="100" dirty="0">
                <a:effectLst/>
                <a:ea typeface="Calibri" panose="020F0502020204030204" pitchFamily="34" charset="0"/>
                <a:cs typeface="Arial" panose="020B0604020202020204" pitchFamily="34" charset="0"/>
              </a:rPr>
              <a:t>The service provider must be able to demonstrate the capacity to implement other human capital related projects such as coaching, team interventions and organizational health and culture programs. The coaching programme should be able to address issues of abrupt behavior (such as bullying) with relevant and appropriate experts to deal with such matters.</a:t>
            </a:r>
          </a:p>
          <a:p>
            <a:pPr marL="228600" marR="27305" indent="-228600">
              <a:lnSpc>
                <a:spcPct val="150000"/>
              </a:lnSpc>
              <a:spcAft>
                <a:spcPts val="835"/>
              </a:spcAft>
              <a:buAutoNum type="arabicPeriod" startAt="10"/>
            </a:pPr>
            <a:r>
              <a:rPr lang="en-US" sz="1000" kern="100" dirty="0">
                <a:effectLst/>
                <a:ea typeface="Calibri" panose="020F0502020204030204" pitchFamily="34" charset="0"/>
                <a:cs typeface="Arial" panose="020B0604020202020204" pitchFamily="34" charset="0"/>
              </a:rPr>
              <a:t>The EAP support and services must consider various ways of working and the possible negative impact on employees, which may include remote working, managing virtual interactions and social isolation.</a:t>
            </a:r>
          </a:p>
          <a:p>
            <a:pPr marL="228600" marR="27305" indent="-228600">
              <a:spcAft>
                <a:spcPts val="835"/>
              </a:spcAft>
              <a:buAutoNum type="arabicPeriod" startAt="10"/>
            </a:pPr>
            <a:r>
              <a:rPr lang="en-US" sz="1000" kern="100" dirty="0">
                <a:effectLst/>
                <a:ea typeface="Calibri" panose="020F0502020204030204" pitchFamily="34" charset="0"/>
                <a:cs typeface="Arial" panose="020B0604020202020204" pitchFamily="34" charset="0"/>
              </a:rPr>
              <a:t>The service provider must engage with the different operating divisions in a meaningful way by customizing services and products to the business requirements of each operating division.</a:t>
            </a:r>
          </a:p>
          <a:p>
            <a:pPr marL="228600" marR="0" lvl="0" indent="-228600">
              <a:spcBef>
                <a:spcPts val="1200"/>
              </a:spcBef>
              <a:spcAft>
                <a:spcPts val="0"/>
              </a:spcAft>
              <a:buAutoNum type="arabicPeriod" startAt="2"/>
              <a:tabLst>
                <a:tab pos="360045" algn="l"/>
                <a:tab pos="457200" algn="l"/>
              </a:tabLst>
            </a:pPr>
            <a:r>
              <a:rPr lang="en-GB" sz="1000" b="1" kern="1600" cap="all" dirty="0">
                <a:effectLst/>
                <a:cs typeface="Times New Roman" panose="02020603050405020304" pitchFamily="18" charset="0"/>
              </a:rPr>
              <a:t>The scope of work will include the following areas: </a:t>
            </a:r>
            <a:endParaRPr lang="en-US" sz="1000" b="1" kern="1600" cap="all" dirty="0">
              <a:cs typeface="Times New Roman" panose="02020603050405020304" pitchFamily="18" charset="0"/>
            </a:endParaRPr>
          </a:p>
          <a:p>
            <a:pPr>
              <a:lnSpc>
                <a:spcPct val="150000"/>
              </a:lnSpc>
              <a:spcBef>
                <a:spcPts val="1200"/>
              </a:spcBef>
              <a:tabLst>
                <a:tab pos="360045" algn="l"/>
                <a:tab pos="457200" algn="l"/>
              </a:tabLst>
            </a:pPr>
            <a:r>
              <a:rPr lang="en-US" sz="1000" kern="1600" cap="all" dirty="0">
                <a:cs typeface="Times New Roman" panose="02020603050405020304" pitchFamily="18" charset="0"/>
              </a:rPr>
              <a:t> </a:t>
            </a:r>
            <a:r>
              <a:rPr lang="en-US" sz="1000" dirty="0">
                <a:ea typeface="Times New Roman" panose="02020603050405020304" pitchFamily="18" charset="0"/>
                <a:cs typeface="Times New Roman" panose="02020603050405020304" pitchFamily="18" charset="0"/>
              </a:rPr>
              <a:t>2.1.	Counselling Services (Capitation Fee)</a:t>
            </a:r>
            <a:endParaRPr lang="en-US" sz="1000" kern="1600" cap="all" dirty="0">
              <a:cs typeface="Times New Roman" panose="02020603050405020304" pitchFamily="18" charset="0"/>
            </a:endParaRPr>
          </a:p>
          <a:p>
            <a:pPr marL="228600" marR="0">
              <a:lnSpc>
                <a:spcPct val="150000"/>
              </a:lnSpc>
              <a:spcBef>
                <a:spcPts val="0"/>
              </a:spcBef>
              <a:spcAft>
                <a:spcPts val="195"/>
              </a:spcAft>
            </a:pPr>
            <a:r>
              <a:rPr lang="en-US" sz="1000" u="sng" kern="100" dirty="0">
                <a:effectLst/>
                <a:uFill>
                  <a:solidFill>
                    <a:srgbClr val="000000"/>
                  </a:solidFill>
                </a:uFill>
                <a:ea typeface="Calibri" panose="020F0502020204030204" pitchFamily="34" charset="0"/>
                <a:cs typeface="Arial" panose="020B0604020202020204" pitchFamily="34" charset="0"/>
              </a:rPr>
              <a:t>Types of Counselling required will include but not be limited to the below:</a:t>
            </a:r>
            <a:r>
              <a:rPr lang="en-US" sz="1000" kern="100" dirty="0">
                <a:effectLst/>
                <a:ea typeface="Calibri" panose="020F0502020204030204" pitchFamily="34" charset="0"/>
                <a:cs typeface="Arial" panose="020B0604020202020204" pitchFamily="34" charset="0"/>
              </a:rPr>
              <a:t> </a:t>
            </a:r>
          </a:p>
          <a:p>
            <a:pPr marL="0" marR="0">
              <a:lnSpc>
                <a:spcPct val="150000"/>
              </a:lnSpc>
              <a:spcBef>
                <a:spcPts val="0"/>
              </a:spcBef>
              <a:spcAft>
                <a:spcPts val="195"/>
              </a:spcAft>
            </a:pPr>
            <a:r>
              <a:rPr lang="en-US" sz="1000" kern="100" dirty="0">
                <a:effectLst/>
                <a:ea typeface="Calibri" panose="020F0502020204030204" pitchFamily="34" charset="0"/>
                <a:cs typeface="Arial" panose="020B0604020202020204" pitchFamily="34" charset="0"/>
              </a:rPr>
              <a:t>2.1.1.	Debriefing for critical incident stress and trauma </a:t>
            </a:r>
          </a:p>
          <a:p>
            <a:pPr marL="0" marR="0">
              <a:lnSpc>
                <a:spcPct val="150000"/>
              </a:lnSpc>
              <a:spcBef>
                <a:spcPts val="0"/>
              </a:spcBef>
              <a:spcAft>
                <a:spcPts val="195"/>
              </a:spcAft>
            </a:pPr>
            <a:r>
              <a:rPr lang="en-US" sz="1000" kern="100" dirty="0">
                <a:effectLst/>
                <a:ea typeface="Calibri" panose="020F0502020204030204" pitchFamily="34" charset="0"/>
                <a:cs typeface="Arial" panose="020B0604020202020204" pitchFamily="34" charset="0"/>
              </a:rPr>
              <a:t>2.1.2.	Preventative wellness programs </a:t>
            </a:r>
          </a:p>
          <a:p>
            <a:pPr marL="0" marR="0">
              <a:lnSpc>
                <a:spcPct val="150000"/>
              </a:lnSpc>
              <a:spcBef>
                <a:spcPts val="0"/>
              </a:spcBef>
              <a:spcAft>
                <a:spcPts val="195"/>
              </a:spcAft>
            </a:pPr>
            <a:r>
              <a:rPr lang="en-US" sz="1000" kern="100" dirty="0">
                <a:effectLst/>
                <a:ea typeface="Calibri" panose="020F0502020204030204" pitchFamily="34" charset="0"/>
                <a:cs typeface="Arial" panose="020B0604020202020204" pitchFamily="34" charset="0"/>
              </a:rPr>
              <a:t>2.1.3.	Loss and bereavement </a:t>
            </a:r>
          </a:p>
          <a:p>
            <a:pPr marL="0" marR="0">
              <a:lnSpc>
                <a:spcPct val="150000"/>
              </a:lnSpc>
              <a:spcBef>
                <a:spcPts val="0"/>
              </a:spcBef>
              <a:spcAft>
                <a:spcPts val="195"/>
              </a:spcAft>
            </a:pPr>
            <a:r>
              <a:rPr lang="en-US" sz="1000" kern="100" dirty="0">
                <a:ea typeface="Calibri" panose="020F0502020204030204" pitchFamily="34" charset="0"/>
                <a:cs typeface="Arial" panose="020B0604020202020204" pitchFamily="34" charset="0"/>
              </a:rPr>
              <a:t>2.1.4.    Issues with family and relationships </a:t>
            </a:r>
          </a:p>
          <a:p>
            <a:pPr marL="0" marR="0">
              <a:lnSpc>
                <a:spcPct val="150000"/>
              </a:lnSpc>
              <a:spcBef>
                <a:spcPts val="0"/>
              </a:spcBef>
              <a:spcAft>
                <a:spcPts val="195"/>
              </a:spcAft>
            </a:pPr>
            <a:r>
              <a:rPr lang="en-US" sz="1000" kern="100" dirty="0">
                <a:effectLst/>
                <a:ea typeface="Calibri" panose="020F0502020204030204" pitchFamily="34" charset="0"/>
                <a:cs typeface="Arial" panose="020B0604020202020204" pitchFamily="34" charset="0"/>
              </a:rPr>
              <a:t>2.1.5. 	Divorce Issues </a:t>
            </a:r>
          </a:p>
          <a:p>
            <a:pPr marL="0" marR="0">
              <a:lnSpc>
                <a:spcPct val="150000"/>
              </a:lnSpc>
              <a:spcBef>
                <a:spcPts val="0"/>
              </a:spcBef>
              <a:spcAft>
                <a:spcPts val="195"/>
              </a:spcAft>
            </a:pPr>
            <a:r>
              <a:rPr lang="en-US" sz="1000" kern="100" dirty="0">
                <a:ea typeface="Calibri" panose="020F0502020204030204" pitchFamily="34" charset="0"/>
                <a:cs typeface="Arial" panose="020B0604020202020204" pitchFamily="34" charset="0"/>
              </a:rPr>
              <a:t>2.1.6.	Physical and emotional abuse </a:t>
            </a:r>
          </a:p>
          <a:p>
            <a:pPr marL="0" marR="0">
              <a:lnSpc>
                <a:spcPct val="150000"/>
              </a:lnSpc>
              <a:spcBef>
                <a:spcPts val="0"/>
              </a:spcBef>
              <a:spcAft>
                <a:spcPts val="195"/>
              </a:spcAft>
            </a:pPr>
            <a:r>
              <a:rPr lang="en-US" sz="1000" kern="100" dirty="0">
                <a:ea typeface="Calibri" panose="020F0502020204030204" pitchFamily="34" charset="0"/>
                <a:cs typeface="Arial" panose="020B0604020202020204" pitchFamily="34" charset="0"/>
              </a:rPr>
              <a:t>2.1.7.	Problems at  Work/School </a:t>
            </a:r>
          </a:p>
          <a:p>
            <a:pPr>
              <a:lnSpc>
                <a:spcPct val="150000"/>
              </a:lnSpc>
              <a:spcAft>
                <a:spcPts val="195"/>
              </a:spcAft>
            </a:pPr>
            <a:r>
              <a:rPr lang="en-US" sz="1000" kern="100" dirty="0">
                <a:cs typeface="Arial" panose="020B0604020202020204" pitchFamily="34" charset="0"/>
              </a:rPr>
              <a:t>2.1.8.	</a:t>
            </a:r>
            <a:r>
              <a:rPr lang="en-GB" sz="1000" kern="100" dirty="0">
                <a:cs typeface="Arial" panose="020B0604020202020204" pitchFamily="34" charset="0"/>
              </a:rPr>
              <a:t>Financial management &amp; Legal Issues </a:t>
            </a:r>
          </a:p>
          <a:p>
            <a:pPr>
              <a:lnSpc>
                <a:spcPct val="150000"/>
              </a:lnSpc>
              <a:spcAft>
                <a:spcPts val="195"/>
              </a:spcAft>
            </a:pPr>
            <a:r>
              <a:rPr lang="en-GB" sz="1000" kern="100" dirty="0">
                <a:cs typeface="Arial" panose="020B0604020202020204" pitchFamily="34" charset="0"/>
              </a:rPr>
              <a:t>2.1.9.	Interpersonal communication </a:t>
            </a:r>
          </a:p>
          <a:p>
            <a:pPr>
              <a:lnSpc>
                <a:spcPct val="150000"/>
              </a:lnSpc>
              <a:spcAft>
                <a:spcPts val="195"/>
              </a:spcAft>
            </a:pPr>
            <a:r>
              <a:rPr lang="en-GB" sz="1000" kern="100" dirty="0">
                <a:cs typeface="Arial" panose="020B0604020202020204" pitchFamily="34" charset="0"/>
              </a:rPr>
              <a:t>2.1.10.	Alcohol, gambling, and substance addiction. </a:t>
            </a:r>
          </a:p>
          <a:p>
            <a:pPr>
              <a:lnSpc>
                <a:spcPct val="150000"/>
              </a:lnSpc>
              <a:spcAft>
                <a:spcPts val="195"/>
              </a:spcAft>
            </a:pPr>
            <a:r>
              <a:rPr lang="en-GB" sz="1000" kern="100" dirty="0">
                <a:cs typeface="Arial" panose="020B0604020202020204" pitchFamily="34" charset="0"/>
              </a:rPr>
              <a:t>2.1.11.	Trauma, HIV/AIDS, and other chronic diseases, as well as anxiety, stress, depression, and suicidal thoughts. </a:t>
            </a:r>
          </a:p>
          <a:p>
            <a:pPr>
              <a:lnSpc>
                <a:spcPct val="150000"/>
              </a:lnSpc>
              <a:spcAft>
                <a:spcPts val="195"/>
              </a:spcAft>
            </a:pPr>
            <a:r>
              <a:rPr lang="en-GB" sz="1000" kern="100" dirty="0">
                <a:cs typeface="Arial" panose="020B0604020202020204" pitchFamily="34" charset="0"/>
              </a:rPr>
              <a:t>2.1.12.	The service provider must provide a toll-free supportive counselling service for Transnet employees and their dependant families  members 24 hours a day, 7 days a week, 365 days a year.</a:t>
            </a:r>
          </a:p>
        </p:txBody>
      </p:sp>
    </p:spTree>
    <p:extLst>
      <p:ext uri="{BB962C8B-B14F-4D97-AF65-F5344CB8AC3E}">
        <p14:creationId xmlns:p14="http://schemas.microsoft.com/office/powerpoint/2010/main" val="480720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513f7d8-2673-41ee-8a5c-a1718fe7dbf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272D05B13652346A6F6A3B1EEC420E6" ma:contentTypeVersion="13" ma:contentTypeDescription="Create a new document." ma:contentTypeScope="" ma:versionID="2040726fc7540a497449c613feac94f3">
  <xsd:schema xmlns:xsd="http://www.w3.org/2001/XMLSchema" xmlns:xs="http://www.w3.org/2001/XMLSchema" xmlns:p="http://schemas.microsoft.com/office/2006/metadata/properties" xmlns:ns3="4513f7d8-2673-41ee-8a5c-a1718fe7dbf9" xmlns:ns4="74a0f8a8-86e1-4d92-9184-1855d4772555" targetNamespace="http://schemas.microsoft.com/office/2006/metadata/properties" ma:root="true" ma:fieldsID="4f8f92e6d25065712893ac38ee54ef87" ns3:_="" ns4:_="">
    <xsd:import namespace="4513f7d8-2673-41ee-8a5c-a1718fe7dbf9"/>
    <xsd:import namespace="74a0f8a8-86e1-4d92-9184-1855d4772555"/>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SystemTags" minOccurs="0"/>
                <xsd:element ref="ns3:MediaServiceGenerationTime" minOccurs="0"/>
                <xsd:element ref="ns3:MediaServiceEventHashCode"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13f7d8-2673-41ee-8a5c-a1718fe7db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SystemTags" ma:index="16" nillable="true" ma:displayName="MediaServiceSystemTags" ma:hidden="true" ma:internalName="MediaServiceSystemTags" ma:readOnly="true">
      <xsd:simpleType>
        <xsd:restriction base="dms:Note"/>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a0f8a8-86e1-4d92-9184-1855d477255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4AA3A9-A820-4959-AB84-868C8A0F9BD7}">
  <ds:schemaRefs>
    <ds:schemaRef ds:uri="4513f7d8-2673-41ee-8a5c-a1718fe7dbf9"/>
    <ds:schemaRef ds:uri="http://purl.org/dc/terms/"/>
    <ds:schemaRef ds:uri="74a0f8a8-86e1-4d92-9184-1855d4772555"/>
    <ds:schemaRef ds:uri="http://purl.org/dc/dcmitype/"/>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71620D8-AE04-4DEC-8E8D-9BB5ECA222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13f7d8-2673-41ee-8a5c-a1718fe7dbf9"/>
    <ds:schemaRef ds:uri="74a0f8a8-86e1-4d92-9184-1855d47725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E53A0D-FF07-4C70-A30E-133F516FC6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5145</TotalTime>
  <Words>6655</Words>
  <Application>Microsoft Office PowerPoint</Application>
  <PresentationFormat>Widescreen</PresentationFormat>
  <Paragraphs>517</Paragraphs>
  <Slides>31</Slides>
  <Notes>3</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5" baseType="lpstr">
      <vt:lpstr>Apex New Bold</vt:lpstr>
      <vt:lpstr>Apex New Book</vt:lpstr>
      <vt:lpstr>Apex New Heavy</vt:lpstr>
      <vt:lpstr>Apex New Medium</vt:lpstr>
      <vt:lpstr>Apex New Medium Italic</vt:lpstr>
      <vt:lpstr>Arial</vt:lpstr>
      <vt:lpstr>Calibri</vt:lpstr>
      <vt:lpstr>Courier New</vt:lpstr>
      <vt:lpstr>Tahoma</vt:lpstr>
      <vt:lpstr>Times New Roman</vt:lpstr>
      <vt:lpstr>Wingdings</vt:lpstr>
      <vt:lpstr>1_TEMPLATE MASTER</vt:lpstr>
      <vt:lpstr>1_TEMPLATE MASTER</vt:lpstr>
      <vt:lpstr>think-cell Slide</vt:lpstr>
      <vt:lpstr>Tender Briefing Session</vt:lpstr>
      <vt:lpstr>AGENDA</vt:lpstr>
      <vt:lpstr>PowerPoint Presentation</vt:lpstr>
      <vt:lpstr>WELCOME</vt:lpstr>
      <vt:lpstr>RULES OF ENGAGEMENT</vt:lpstr>
      <vt:lpstr>PowerPoint Presentation</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SCOPE OF SERVICES &amp; KEY DELIVERABLES</vt:lpstr>
      <vt:lpstr>PowerPoint Presentation</vt:lpstr>
      <vt:lpstr>PROCUREMENT PROCESS  Overview</vt:lpstr>
      <vt:lpstr>PowerPoint Presentation</vt:lpstr>
      <vt:lpstr>PROCUREMENT PROCESS  Overview</vt:lpstr>
      <vt:lpstr> </vt:lpstr>
      <vt:lpstr> </vt:lpstr>
      <vt:lpstr> </vt:lpstr>
      <vt:lpstr> </vt:lpstr>
      <vt:lpstr> </vt:lpstr>
      <vt:lpstr>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Nhlanhla Caluza   Transnet Corporate   Johannesburg</cp:lastModifiedBy>
  <cp:revision>30</cp:revision>
  <cp:lastPrinted>2020-07-17T12:09:20Z</cp:lastPrinted>
  <dcterms:created xsi:type="dcterms:W3CDTF">2020-05-19T16:46:16Z</dcterms:created>
  <dcterms:modified xsi:type="dcterms:W3CDTF">2025-04-14T10:5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72D05B13652346A6F6A3B1EEC420E6</vt:lpwstr>
  </property>
  <property fmtid="{D5CDD505-2E9C-101B-9397-08002B2CF9AE}" pid="3" name="MediaServiceImageTags">
    <vt:lpwstr/>
  </property>
  <property fmtid="{D5CDD505-2E9C-101B-9397-08002B2CF9AE}" pid="4" name="MSIP_Label_58cf86ee-526f-4536-9daf-d1ee8064d50e_Enabled">
    <vt:lpwstr>true</vt:lpwstr>
  </property>
  <property fmtid="{D5CDD505-2E9C-101B-9397-08002B2CF9AE}" pid="5" name="MSIP_Label_58cf86ee-526f-4536-9daf-d1ee8064d50e_SetDate">
    <vt:lpwstr>2025-04-09T11:04:41Z</vt:lpwstr>
  </property>
  <property fmtid="{D5CDD505-2E9C-101B-9397-08002B2CF9AE}" pid="6" name="MSIP_Label_58cf86ee-526f-4536-9daf-d1ee8064d50e_Method">
    <vt:lpwstr>Standard</vt:lpwstr>
  </property>
  <property fmtid="{D5CDD505-2E9C-101B-9397-08002B2CF9AE}" pid="7" name="MSIP_Label_58cf86ee-526f-4536-9daf-d1ee8064d50e_Name">
    <vt:lpwstr>Internal Only Information</vt:lpwstr>
  </property>
  <property fmtid="{D5CDD505-2E9C-101B-9397-08002B2CF9AE}" pid="8" name="MSIP_Label_58cf86ee-526f-4536-9daf-d1ee8064d50e_SiteId">
    <vt:lpwstr>a1a39996-f913-4016-a58a-361c60dec580</vt:lpwstr>
  </property>
  <property fmtid="{D5CDD505-2E9C-101B-9397-08002B2CF9AE}" pid="9" name="MSIP_Label_58cf86ee-526f-4536-9daf-d1ee8064d50e_ActionId">
    <vt:lpwstr>4aa61804-f04e-48ce-98bf-ebb95730099b</vt:lpwstr>
  </property>
  <property fmtid="{D5CDD505-2E9C-101B-9397-08002B2CF9AE}" pid="10" name="MSIP_Label_58cf86ee-526f-4536-9daf-d1ee8064d50e_ContentBits">
    <vt:lpwstr>0</vt:lpwstr>
  </property>
</Properties>
</file>